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6" r:id="rId2"/>
    <p:sldMasterId id="2147483745" r:id="rId3"/>
    <p:sldMasterId id="2147483786" r:id="rId4"/>
  </p:sldMasterIdLst>
  <p:notesMasterIdLst>
    <p:notesMasterId r:id="rId12"/>
  </p:notesMasterIdLst>
  <p:sldIdLst>
    <p:sldId id="2147481514" r:id="rId5"/>
    <p:sldId id="2147482451" r:id="rId6"/>
    <p:sldId id="2147472152" r:id="rId7"/>
    <p:sldId id="2147482321" r:id="rId8"/>
    <p:sldId id="2147472164" r:id="rId9"/>
    <p:sldId id="2147482386" r:id="rId10"/>
    <p:sldId id="2147482307" r:id="rId11"/>
  </p:sldIdLst>
  <p:sldSz cx="12192000" cy="6858000"/>
  <p:notesSz cx="6980238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F7ED8B-972E-487D-87F4-795155B1BF90}">
          <p14:sldIdLst>
            <p14:sldId id="2147481514"/>
            <p14:sldId id="2147482451"/>
            <p14:sldId id="2147472152"/>
            <p14:sldId id="2147482321"/>
            <p14:sldId id="2147472164"/>
            <p14:sldId id="2147482386"/>
            <p14:sldId id="2147482307"/>
          </p14:sldIdLst>
        </p14:section>
        <p14:section name="Additional slides" id="{12F5C849-306E-40F0-A6BC-494A382FA219}">
          <p14:sldIdLst/>
        </p14:section>
      </p14:sectionLst>
    </p:ext>
    <p:ext uri="{EFAFB233-063F-42B5-8137-9DF3F51BA10A}">
      <p15:sldGuideLst xmlns:p15="http://schemas.microsoft.com/office/powerpoint/2012/main">
        <p15:guide id="1" pos="279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6" pos="5178" userDrawn="1">
          <p15:clr>
            <a:srgbClr val="A4A3A4"/>
          </p15:clr>
        </p15:guide>
        <p15:guide id="7" pos="7378" userDrawn="1">
          <p15:clr>
            <a:srgbClr val="A4A3A4"/>
          </p15:clr>
        </p15:guide>
        <p15:guide id="8" orient="horz" pos="50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eth Campbell" initials="BC" lastIdx="23" clrIdx="6">
    <p:extLst>
      <p:ext uri="{19B8F6BF-5375-455C-9EA6-DF929625EA0E}">
        <p15:presenceInfo xmlns:p15="http://schemas.microsoft.com/office/powerpoint/2012/main" userId="Beth Campbell" providerId="None"/>
      </p:ext>
    </p:extLst>
  </p:cmAuthor>
  <p:cmAuthor id="1" name="Moupali Das" initials="MD" lastIdx="31" clrIdx="0">
    <p:extLst>
      <p:ext uri="{19B8F6BF-5375-455C-9EA6-DF929625EA0E}">
        <p15:presenceInfo xmlns:p15="http://schemas.microsoft.com/office/powerpoint/2012/main" userId="S::Moupali.Das@gilead.com::3aee6de7-0949-4743-9267-8745f9c2ea8e" providerId="AD"/>
      </p:ext>
    </p:extLst>
  </p:cmAuthor>
  <p:cmAuthor id="8" name="Rosie Dalton" initials="RD" lastIdx="1" clrIdx="7">
    <p:extLst>
      <p:ext uri="{19B8F6BF-5375-455C-9EA6-DF929625EA0E}">
        <p15:presenceInfo xmlns:p15="http://schemas.microsoft.com/office/powerpoint/2012/main" userId="S::Rosie.Dalton@ashfieldmedcomms.com::a80eb43f-06dc-4faf-b5e5-b75a60b93d13" providerId="AD"/>
      </p:ext>
    </p:extLst>
  </p:cmAuthor>
  <p:cmAuthor id="2" name="Samantha Anderson" initials="SA" lastIdx="5" clrIdx="1">
    <p:extLst>
      <p:ext uri="{19B8F6BF-5375-455C-9EA6-DF929625EA0E}">
        <p15:presenceInfo xmlns:p15="http://schemas.microsoft.com/office/powerpoint/2012/main" userId="S::amcgileadhivteam_ashfieldhealth.com#ext#@gileadconnect.onmicrosoft.com::4ae43cff-c6c2-48a0-b3dd-53862781ffaf" providerId="AD"/>
      </p:ext>
    </p:extLst>
  </p:cmAuthor>
  <p:cmAuthor id="3" name="Carlo Hojilla" initials="CH" lastIdx="1" clrIdx="2">
    <p:extLst>
      <p:ext uri="{19B8F6BF-5375-455C-9EA6-DF929625EA0E}">
        <p15:presenceInfo xmlns:p15="http://schemas.microsoft.com/office/powerpoint/2012/main" userId="S::carlo.hojilla@gilead.com::fbeffca2-9c49-4eb9-a736-b8b50241197d" providerId="AD"/>
      </p:ext>
    </p:extLst>
  </p:cmAuthor>
  <p:cmAuthor id="4" name="Jenna Yager" initials="JY" lastIdx="1" clrIdx="3">
    <p:extLst>
      <p:ext uri="{19B8F6BF-5375-455C-9EA6-DF929625EA0E}">
        <p15:presenceInfo xmlns:p15="http://schemas.microsoft.com/office/powerpoint/2012/main" userId="S::jenna.yager@gilead.com::46d16c79-7883-485f-bd49-4bcb0fe0810a" providerId="AD"/>
      </p:ext>
    </p:extLst>
  </p:cmAuthor>
  <p:cmAuthor id="5" name="Kathryn Kersey" initials="KK" lastIdx="16" clrIdx="4">
    <p:extLst>
      <p:ext uri="{19B8F6BF-5375-455C-9EA6-DF929625EA0E}">
        <p15:presenceInfo xmlns:p15="http://schemas.microsoft.com/office/powerpoint/2012/main" userId="S::Kathryn.Kersey@gilead.com::0af8637c-53d2-40e5-b2a5-5bc13c267d78" providerId="AD"/>
      </p:ext>
    </p:extLst>
  </p:cmAuthor>
  <p:cmAuthor id="6" name="Ashfield MedComms" initials="AMC" lastIdx="1" clrIdx="5">
    <p:extLst>
      <p:ext uri="{19B8F6BF-5375-455C-9EA6-DF929625EA0E}">
        <p15:presenceInfo xmlns:p15="http://schemas.microsoft.com/office/powerpoint/2012/main" userId="Ashfield MedComm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30A0"/>
    <a:srgbClr val="537AC6"/>
    <a:srgbClr val="00CC9B"/>
    <a:srgbClr val="E48D1A"/>
    <a:srgbClr val="8CA6D9"/>
    <a:srgbClr val="203661"/>
    <a:srgbClr val="4E692A"/>
    <a:srgbClr val="A7C978"/>
    <a:srgbClr val="55A2A8"/>
    <a:srgbClr val="BB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9" autoAdjust="0"/>
    <p:restoredTop sz="94660"/>
  </p:normalViewPr>
  <p:slideViewPr>
    <p:cSldViewPr snapToGrid="0">
      <p:cViewPr varScale="1">
        <p:scale>
          <a:sx n="62" d="100"/>
          <a:sy n="62" d="100"/>
        </p:scale>
        <p:origin x="548" y="52"/>
      </p:cViewPr>
      <p:guideLst>
        <p:guide pos="279"/>
        <p:guide orient="horz" pos="4201"/>
        <p:guide pos="5178"/>
        <p:guide pos="7378"/>
        <p:guide orient="horz" pos="5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AD322-AD05-43DE-A4A7-97DE6018151D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1143000"/>
            <a:ext cx="5487988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4400550"/>
            <a:ext cx="558419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8685214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66AC27-8B3F-4969-9B7A-642C10AEA6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708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08ECA3-F200-4A3B-9193-63A7A92032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8905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1E510-08EE-4534-99FF-C82F96123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961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15205AB9-A7F1-4F6A-BD34-E43FF204EF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H_Note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29F333-FACE-DF47-A5BE-6161F3AB7E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148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1E510-08EE-4534-99FF-C82F96123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377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470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5742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0401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54582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4565B">
                    <a:lumMod val="40000"/>
                    <a:lumOff val="6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4565B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099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77350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0300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0" i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31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20366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43F1FB-DC70-4F3B-B938-54A52764C5FF}" type="datetime1">
              <a:rPr lang="en-US" smtClean="0"/>
              <a:t>7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8072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914400"/>
          </a:xfrm>
          <a:noFill/>
        </p:spPr>
        <p:txBody>
          <a:bodyPr anchor="b"/>
          <a:lstStyle>
            <a:lvl1pPr>
              <a:defRPr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 marL="342900" indent="-342900">
              <a:spcBef>
                <a:spcPts val="600"/>
              </a:spcBef>
              <a:buClr>
                <a:srgbClr val="7D55C7"/>
              </a:buClr>
              <a:buFont typeface="Wingdings" panose="05000000000000000000" pitchFamily="2" charset="2"/>
              <a:buChar char="§"/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403061" y="6419334"/>
            <a:ext cx="8975466" cy="184666"/>
          </a:xfrm>
        </p:spPr>
        <p:txBody>
          <a:bodyPr wrap="square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4B0AC707-EC71-4CF3-BFB6-2E9CF4A5287A}"/>
              </a:ext>
            </a:extLst>
          </p:cNvPr>
          <p:cNvSpPr txBox="1">
            <a:spLocks/>
          </p:cNvSpPr>
          <p:nvPr/>
        </p:nvSpPr>
        <p:spPr>
          <a:xfrm>
            <a:off x="11379200" y="6238875"/>
            <a:ext cx="333244" cy="365125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BE16F37-D63B-443C-96C0-C234F1098F79}" type="slidenum">
              <a:rPr lang="en-US" smtClean="0">
                <a:latin typeface="Roboto" panose="02000000000000000000" pitchFamily="2" charset="0"/>
                <a:ea typeface="Roboto" panose="02000000000000000000" pitchFamily="2" charset="0"/>
              </a:rPr>
              <a:pPr>
                <a:defRPr/>
              </a:pPr>
              <a:t>‹#›</a:t>
            </a:fld>
            <a:endParaRPr lang="en-US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2C9B22-8D56-4988-978A-21563CE35771}"/>
              </a:ext>
            </a:extLst>
          </p:cNvPr>
          <p:cNvSpPr txBox="1"/>
          <p:nvPr/>
        </p:nvSpPr>
        <p:spPr>
          <a:xfrm>
            <a:off x="10457864" y="6397168"/>
            <a:ext cx="1064714" cy="246221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218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307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latin typeface="+mj-lt"/>
              </a:defRPr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800" b="0" i="0">
                <a:solidFill>
                  <a:schemeClr val="tx1"/>
                </a:solidFill>
                <a:latin typeface="+mj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600">
                <a:latin typeface="+mj-lt"/>
              </a:defRPr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400">
                <a:latin typeface="+mj-lt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3056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2487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latin typeface="+mj-lt"/>
              </a:defRPr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800" b="0" i="0">
                <a:solidFill>
                  <a:schemeClr val="tx1"/>
                </a:solidFill>
                <a:latin typeface="+mj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600">
                <a:latin typeface="+mj-lt"/>
              </a:defRPr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400">
                <a:latin typeface="+mj-lt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3056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315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72201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9496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2421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31C17B-5D12-4B72-A403-620F5B24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66501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2088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4239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31406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086821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6550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04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8011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72201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5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25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4565B">
                    <a:lumMod val="40000"/>
                    <a:lumOff val="6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4565B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42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4114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EC7BDC2-682B-4FC2-B931-56B8D3C305C8}"/>
              </a:ext>
            </a:extLst>
          </p:cNvPr>
          <p:cNvSpPr/>
          <p:nvPr userDrawn="1"/>
        </p:nvSpPr>
        <p:spPr bwMode="auto"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5000">
                <a:srgbClr val="BD43B1"/>
              </a:gs>
              <a:gs pos="66000">
                <a:srgbClr val="A488D8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5000"/>
              </a:spcAft>
              <a:buClrTx/>
              <a:buSzTx/>
              <a:buFontTx/>
              <a:buChar char="•"/>
              <a:tabLst/>
            </a:pPr>
            <a:endParaRPr kumimoji="0" lang="en-US" sz="3600" b="1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90BD8E9A-A791-4D38-A409-17A5FD2D21F0}"/>
              </a:ext>
            </a:extLst>
          </p:cNvPr>
          <p:cNvSpPr/>
          <p:nvPr userDrawn="1"/>
        </p:nvSpPr>
        <p:spPr bwMode="auto">
          <a:xfrm>
            <a:off x="0" y="4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72000">
                <a:srgbClr val="FFFFFF">
                  <a:alpha val="80000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5000"/>
              </a:spcAft>
              <a:buClrTx/>
              <a:buSzTx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4" name="Freeform: Shape 223">
            <a:extLst>
              <a:ext uri="{FF2B5EF4-FFF2-40B4-BE49-F238E27FC236}">
                <a16:creationId xmlns:a16="http://schemas.microsoft.com/office/drawing/2014/main" id="{2A2EB2F8-FED5-498B-80C1-5B40CCCD70A3}"/>
              </a:ext>
            </a:extLst>
          </p:cNvPr>
          <p:cNvSpPr>
            <a:spLocks/>
          </p:cNvSpPr>
          <p:nvPr userDrawn="1"/>
        </p:nvSpPr>
        <p:spPr bwMode="auto">
          <a:xfrm rot="18577718">
            <a:off x="682118" y="-563295"/>
            <a:ext cx="9476410" cy="11515965"/>
          </a:xfrm>
          <a:custGeom>
            <a:avLst/>
            <a:gdLst>
              <a:gd name="connsiteX0" fmla="*/ 3941063 w 9476410"/>
              <a:gd name="connsiteY0" fmla="*/ 6745743 h 11515965"/>
              <a:gd name="connsiteX1" fmla="*/ 3654616 w 9476410"/>
              <a:gd name="connsiteY1" fmla="*/ 6927641 h 11515965"/>
              <a:gd name="connsiteX2" fmla="*/ 3591308 w 9476410"/>
              <a:gd name="connsiteY2" fmla="*/ 6980886 h 11515965"/>
              <a:gd name="connsiteX3" fmla="*/ 3470786 w 9476410"/>
              <a:gd name="connsiteY3" fmla="*/ 6835348 h 11515965"/>
              <a:gd name="connsiteX4" fmla="*/ 3481804 w 9476410"/>
              <a:gd name="connsiteY4" fmla="*/ 6824266 h 11515965"/>
              <a:gd name="connsiteX5" fmla="*/ 3941063 w 9476410"/>
              <a:gd name="connsiteY5" fmla="*/ 6745743 h 11515965"/>
              <a:gd name="connsiteX6" fmla="*/ 671158 w 9476410"/>
              <a:gd name="connsiteY6" fmla="*/ 2759859 h 11515965"/>
              <a:gd name="connsiteX7" fmla="*/ 881489 w 9476410"/>
              <a:gd name="connsiteY7" fmla="*/ 3289454 h 11515965"/>
              <a:gd name="connsiteX8" fmla="*/ 191608 w 9476410"/>
              <a:gd name="connsiteY8" fmla="*/ 2872477 h 11515965"/>
              <a:gd name="connsiteX9" fmla="*/ 187585 w 9476410"/>
              <a:gd name="connsiteY9" fmla="*/ 2870676 h 11515965"/>
              <a:gd name="connsiteX10" fmla="*/ 0 w 9476410"/>
              <a:gd name="connsiteY10" fmla="*/ 2644155 h 11515965"/>
              <a:gd name="connsiteX11" fmla="*/ 239851 w 9476410"/>
              <a:gd name="connsiteY11" fmla="*/ 2445530 h 11515965"/>
              <a:gd name="connsiteX12" fmla="*/ 337496 w 9476410"/>
              <a:gd name="connsiteY12" fmla="*/ 2488021 h 11515965"/>
              <a:gd name="connsiteX13" fmla="*/ 671158 w 9476410"/>
              <a:gd name="connsiteY13" fmla="*/ 2759859 h 11515965"/>
              <a:gd name="connsiteX14" fmla="*/ 7573969 w 9476410"/>
              <a:gd name="connsiteY14" fmla="*/ 9886863 h 11515965"/>
              <a:gd name="connsiteX15" fmla="*/ 7463640 w 9476410"/>
              <a:gd name="connsiteY15" fmla="*/ 10231462 h 11515965"/>
              <a:gd name="connsiteX16" fmla="*/ 7470264 w 9476410"/>
              <a:gd name="connsiteY16" fmla="*/ 10503480 h 11515965"/>
              <a:gd name="connsiteX17" fmla="*/ 7482740 w 9476410"/>
              <a:gd name="connsiteY17" fmla="*/ 10558627 h 11515965"/>
              <a:gd name="connsiteX18" fmla="*/ 7522142 w 9476410"/>
              <a:gd name="connsiteY18" fmla="*/ 10555012 h 11515965"/>
              <a:gd name="connsiteX19" fmla="*/ 7720866 w 9476410"/>
              <a:gd name="connsiteY19" fmla="*/ 10620352 h 11515965"/>
              <a:gd name="connsiteX20" fmla="*/ 7367171 w 9476410"/>
              <a:gd name="connsiteY20" fmla="*/ 10695921 h 11515965"/>
              <a:gd name="connsiteX21" fmla="*/ 7208522 w 9476410"/>
              <a:gd name="connsiteY21" fmla="*/ 10784129 h 11515965"/>
              <a:gd name="connsiteX22" fmla="*/ 7094028 w 9476410"/>
              <a:gd name="connsiteY22" fmla="*/ 10877210 h 11515965"/>
              <a:gd name="connsiteX23" fmla="*/ 7115871 w 9476410"/>
              <a:gd name="connsiteY23" fmla="*/ 10908274 h 11515965"/>
              <a:gd name="connsiteX24" fmla="*/ 7159471 w 9476410"/>
              <a:gd name="connsiteY24" fmla="*/ 11114457 h 11515965"/>
              <a:gd name="connsiteX25" fmla="*/ 6916465 w 9476410"/>
              <a:gd name="connsiteY25" fmla="*/ 10845540 h 11515965"/>
              <a:gd name="connsiteX26" fmla="*/ 6778262 w 9476410"/>
              <a:gd name="connsiteY26" fmla="*/ 10759847 h 11515965"/>
              <a:gd name="connsiteX27" fmla="*/ 6692142 w 9476410"/>
              <a:gd name="connsiteY27" fmla="*/ 10725340 h 11515965"/>
              <a:gd name="connsiteX28" fmla="*/ 6647614 w 9476410"/>
              <a:gd name="connsiteY28" fmla="*/ 10671569 h 11515965"/>
              <a:gd name="connsiteX29" fmla="*/ 6720659 w 9476410"/>
              <a:gd name="connsiteY29" fmla="*/ 10664072 h 11515965"/>
              <a:gd name="connsiteX30" fmla="*/ 6799253 w 9476410"/>
              <a:gd name="connsiteY30" fmla="*/ 10674013 h 11515965"/>
              <a:gd name="connsiteX31" fmla="*/ 6982494 w 9476410"/>
              <a:gd name="connsiteY31" fmla="*/ 10756318 h 11515965"/>
              <a:gd name="connsiteX32" fmla="*/ 7017744 w 9476410"/>
              <a:gd name="connsiteY32" fmla="*/ 10788847 h 11515965"/>
              <a:gd name="connsiteX33" fmla="*/ 7017013 w 9476410"/>
              <a:gd name="connsiteY33" fmla="*/ 10762020 h 11515965"/>
              <a:gd name="connsiteX34" fmla="*/ 7233179 w 9476410"/>
              <a:gd name="connsiteY34" fmla="*/ 10575315 h 11515965"/>
              <a:gd name="connsiteX35" fmla="*/ 7065991 w 9476410"/>
              <a:gd name="connsiteY35" fmla="*/ 10786196 h 11515965"/>
              <a:gd name="connsiteX36" fmla="*/ 7054846 w 9476410"/>
              <a:gd name="connsiteY36" fmla="*/ 10823085 h 11515965"/>
              <a:gd name="connsiteX37" fmla="*/ 7058051 w 9476410"/>
              <a:gd name="connsiteY37" fmla="*/ 10826043 h 11515965"/>
              <a:gd name="connsiteX38" fmla="*/ 7080724 w 9476410"/>
              <a:gd name="connsiteY38" fmla="*/ 10858288 h 11515965"/>
              <a:gd name="connsiteX39" fmla="*/ 7100326 w 9476410"/>
              <a:gd name="connsiteY39" fmla="*/ 10797529 h 11515965"/>
              <a:gd name="connsiteX40" fmla="*/ 7156994 w 9476410"/>
              <a:gd name="connsiteY40" fmla="*/ 10712215 h 11515965"/>
              <a:gd name="connsiteX41" fmla="*/ 7323663 w 9476410"/>
              <a:gd name="connsiteY41" fmla="*/ 10593041 h 11515965"/>
              <a:gd name="connsiteX42" fmla="*/ 7368332 w 9476410"/>
              <a:gd name="connsiteY42" fmla="*/ 10579770 h 11515965"/>
              <a:gd name="connsiteX43" fmla="*/ 7345092 w 9476410"/>
              <a:gd name="connsiteY43" fmla="*/ 10567466 h 11515965"/>
              <a:gd name="connsiteX44" fmla="*/ 7291387 w 9476410"/>
              <a:gd name="connsiteY44" fmla="*/ 10285136 h 11515965"/>
              <a:gd name="connsiteX45" fmla="*/ 7390463 w 9476410"/>
              <a:gd name="connsiteY45" fmla="*/ 10536639 h 11515965"/>
              <a:gd name="connsiteX46" fmla="*/ 7417748 w 9476410"/>
              <a:gd name="connsiteY46" fmla="*/ 10565088 h 11515965"/>
              <a:gd name="connsiteX47" fmla="*/ 7420176 w 9476410"/>
              <a:gd name="connsiteY47" fmla="*/ 10564367 h 11515965"/>
              <a:gd name="connsiteX48" fmla="*/ 7456200 w 9476410"/>
              <a:gd name="connsiteY48" fmla="*/ 10561062 h 11515965"/>
              <a:gd name="connsiteX49" fmla="*/ 7448696 w 9476410"/>
              <a:gd name="connsiteY49" fmla="*/ 10554307 h 11515965"/>
              <a:gd name="connsiteX50" fmla="*/ 7370985 w 9476410"/>
              <a:gd name="connsiteY50" fmla="*/ 10419389 h 11515965"/>
              <a:gd name="connsiteX51" fmla="*/ 7351046 w 9476410"/>
              <a:gd name="connsiteY51" fmla="*/ 10219493 h 11515965"/>
              <a:gd name="connsiteX52" fmla="*/ 7362155 w 9476410"/>
              <a:gd name="connsiteY52" fmla="*/ 10173138 h 11515965"/>
              <a:gd name="connsiteX53" fmla="*/ 7339340 w 9476410"/>
              <a:gd name="connsiteY53" fmla="*/ 10187271 h 11515965"/>
              <a:gd name="connsiteX54" fmla="*/ 7067536 w 9476410"/>
              <a:gd name="connsiteY54" fmla="*/ 10092255 h 11515965"/>
              <a:gd name="connsiteX55" fmla="*/ 7335104 w 9476410"/>
              <a:gd name="connsiteY55" fmla="*/ 10132582 h 11515965"/>
              <a:gd name="connsiteX56" fmla="*/ 7373477 w 9476410"/>
              <a:gd name="connsiteY56" fmla="*/ 10125900 h 11515965"/>
              <a:gd name="connsiteX57" fmla="*/ 7374954 w 9476410"/>
              <a:gd name="connsiteY57" fmla="*/ 10119732 h 11515965"/>
              <a:gd name="connsiteX58" fmla="*/ 7392779 w 9476410"/>
              <a:gd name="connsiteY58" fmla="*/ 10082893 h 11515965"/>
              <a:gd name="connsiteX59" fmla="*/ 7328738 w 9476410"/>
              <a:gd name="connsiteY59" fmla="*/ 10097926 h 11515965"/>
              <a:gd name="connsiteX60" fmla="*/ 7225774 w 9476410"/>
              <a:gd name="connsiteY60" fmla="*/ 10090757 h 11515965"/>
              <a:gd name="connsiteX61" fmla="*/ 7041003 w 9476410"/>
              <a:gd name="connsiteY61" fmla="*/ 10004992 h 11515965"/>
              <a:gd name="connsiteX62" fmla="*/ 7008955 w 9476410"/>
              <a:gd name="connsiteY62" fmla="*/ 9976010 h 11515965"/>
              <a:gd name="connsiteX63" fmla="*/ 7009655 w 9476410"/>
              <a:gd name="connsiteY63" fmla="*/ 10000885 h 11515965"/>
              <a:gd name="connsiteX64" fmla="*/ 6789755 w 9476410"/>
              <a:gd name="connsiteY64" fmla="*/ 10188646 h 11515965"/>
              <a:gd name="connsiteX65" fmla="*/ 6960011 w 9476410"/>
              <a:gd name="connsiteY65" fmla="*/ 9976861 h 11515965"/>
              <a:gd name="connsiteX66" fmla="*/ 6970835 w 9476410"/>
              <a:gd name="connsiteY66" fmla="*/ 9941537 h 11515965"/>
              <a:gd name="connsiteX67" fmla="*/ 6966905 w 9476410"/>
              <a:gd name="connsiteY67" fmla="*/ 9937983 h 11515965"/>
              <a:gd name="connsiteX68" fmla="*/ 6944704 w 9476410"/>
              <a:gd name="connsiteY68" fmla="*/ 9905147 h 11515965"/>
              <a:gd name="connsiteX69" fmla="*/ 6924406 w 9476410"/>
              <a:gd name="connsiteY69" fmla="*/ 9967134 h 11515965"/>
              <a:gd name="connsiteX70" fmla="*/ 6865510 w 9476410"/>
              <a:gd name="connsiteY70" fmla="*/ 10051856 h 11515965"/>
              <a:gd name="connsiteX71" fmla="*/ 6702573 w 9476410"/>
              <a:gd name="connsiteY71" fmla="*/ 10169452 h 11515965"/>
              <a:gd name="connsiteX72" fmla="*/ 6661765 w 9476410"/>
              <a:gd name="connsiteY72" fmla="*/ 10182300 h 11515965"/>
              <a:gd name="connsiteX73" fmla="*/ 6693840 w 9476410"/>
              <a:gd name="connsiteY73" fmla="*/ 10203245 h 11515965"/>
              <a:gd name="connsiteX74" fmla="*/ 6724364 w 9476410"/>
              <a:gd name="connsiteY74" fmla="*/ 10232438 h 11515965"/>
              <a:gd name="connsiteX75" fmla="*/ 6735898 w 9476410"/>
              <a:gd name="connsiteY75" fmla="*/ 10476899 h 11515965"/>
              <a:gd name="connsiteX76" fmla="*/ 6636822 w 9476410"/>
              <a:gd name="connsiteY76" fmla="*/ 10225396 h 11515965"/>
              <a:gd name="connsiteX77" fmla="*/ 6610861 w 9476410"/>
              <a:gd name="connsiteY77" fmla="*/ 10198328 h 11515965"/>
              <a:gd name="connsiteX78" fmla="*/ 6605515 w 9476410"/>
              <a:gd name="connsiteY78" fmla="*/ 10200011 h 11515965"/>
              <a:gd name="connsiteX79" fmla="*/ 6570389 w 9476410"/>
              <a:gd name="connsiteY79" fmla="*/ 10202625 h 11515965"/>
              <a:gd name="connsiteX80" fmla="*/ 6577087 w 9476410"/>
              <a:gd name="connsiteY80" fmla="*/ 10208719 h 11515965"/>
              <a:gd name="connsiteX81" fmla="*/ 6655163 w 9476410"/>
              <a:gd name="connsiteY81" fmla="*/ 10343204 h 11515965"/>
              <a:gd name="connsiteX82" fmla="*/ 6671881 w 9476410"/>
              <a:gd name="connsiteY82" fmla="*/ 10544405 h 11515965"/>
              <a:gd name="connsiteX83" fmla="*/ 6664918 w 9476410"/>
              <a:gd name="connsiteY83" fmla="*/ 10588165 h 11515965"/>
              <a:gd name="connsiteX84" fmla="*/ 6672092 w 9476410"/>
              <a:gd name="connsiteY84" fmla="*/ 10582046 h 11515965"/>
              <a:gd name="connsiteX85" fmla="*/ 6927480 w 9476410"/>
              <a:gd name="connsiteY85" fmla="*/ 10623505 h 11515965"/>
              <a:gd name="connsiteX86" fmla="*/ 6955527 w 9476410"/>
              <a:gd name="connsiteY86" fmla="*/ 10671372 h 11515965"/>
              <a:gd name="connsiteX87" fmla="*/ 6688786 w 9476410"/>
              <a:gd name="connsiteY87" fmla="*/ 10629944 h 11515965"/>
              <a:gd name="connsiteX88" fmla="*/ 6652158 w 9476410"/>
              <a:gd name="connsiteY88" fmla="*/ 10636675 h 11515965"/>
              <a:gd name="connsiteX89" fmla="*/ 6642188 w 9476410"/>
              <a:gd name="connsiteY89" fmla="*/ 10665016 h 11515965"/>
              <a:gd name="connsiteX90" fmla="*/ 6556005 w 9476410"/>
              <a:gd name="connsiteY90" fmla="*/ 10560945 h 11515965"/>
              <a:gd name="connsiteX91" fmla="*/ 6562604 w 9476410"/>
              <a:gd name="connsiteY91" fmla="*/ 10530803 h 11515965"/>
              <a:gd name="connsiteX92" fmla="*/ 6566584 w 9476410"/>
              <a:gd name="connsiteY92" fmla="*/ 10350131 h 11515965"/>
              <a:gd name="connsiteX93" fmla="*/ 6541456 w 9476410"/>
              <a:gd name="connsiteY93" fmla="*/ 10204777 h 11515965"/>
              <a:gd name="connsiteX94" fmla="*/ 6504468 w 9476410"/>
              <a:gd name="connsiteY94" fmla="*/ 10207530 h 11515965"/>
              <a:gd name="connsiteX95" fmla="*/ 6306164 w 9476410"/>
              <a:gd name="connsiteY95" fmla="*/ 10142342 h 11515965"/>
              <a:gd name="connsiteX96" fmla="*/ 6659196 w 9476410"/>
              <a:gd name="connsiteY96" fmla="*/ 10066696 h 11515965"/>
              <a:gd name="connsiteX97" fmla="*/ 6817571 w 9476410"/>
              <a:gd name="connsiteY97" fmla="*/ 9978507 h 11515965"/>
              <a:gd name="connsiteX98" fmla="*/ 6931569 w 9476410"/>
              <a:gd name="connsiteY98" fmla="*/ 9885723 h 11515965"/>
              <a:gd name="connsiteX99" fmla="*/ 6910120 w 9476410"/>
              <a:gd name="connsiteY99" fmla="*/ 9853999 h 11515965"/>
              <a:gd name="connsiteX100" fmla="*/ 6865555 w 9476410"/>
              <a:gd name="connsiteY100" fmla="*/ 9650313 h 11515965"/>
              <a:gd name="connsiteX101" fmla="*/ 7109527 w 9476410"/>
              <a:gd name="connsiteY101" fmla="*/ 9916735 h 11515965"/>
              <a:gd name="connsiteX102" fmla="*/ 7346689 w 9476410"/>
              <a:gd name="connsiteY102" fmla="*/ 10045924 h 11515965"/>
              <a:gd name="connsiteX103" fmla="*/ 7402143 w 9476410"/>
              <a:gd name="connsiteY103" fmla="*/ 10063538 h 11515965"/>
              <a:gd name="connsiteX104" fmla="*/ 7419384 w 9476410"/>
              <a:gd name="connsiteY104" fmla="*/ 10027904 h 11515965"/>
              <a:gd name="connsiteX105" fmla="*/ 7573969 w 9476410"/>
              <a:gd name="connsiteY105" fmla="*/ 9886863 h 11515965"/>
              <a:gd name="connsiteX106" fmla="*/ 6607271 w 9476410"/>
              <a:gd name="connsiteY106" fmla="*/ 8483694 h 11515965"/>
              <a:gd name="connsiteX107" fmla="*/ 6190301 w 9476410"/>
              <a:gd name="connsiteY107" fmla="*/ 8976250 h 11515965"/>
              <a:gd name="connsiteX108" fmla="*/ 6015584 w 9476410"/>
              <a:gd name="connsiteY108" fmla="*/ 9429017 h 11515965"/>
              <a:gd name="connsiteX109" fmla="*/ 5999119 w 9476410"/>
              <a:gd name="connsiteY109" fmla="*/ 9524853 h 11515965"/>
              <a:gd name="connsiteX110" fmla="*/ 6065906 w 9476410"/>
              <a:gd name="connsiteY110" fmla="*/ 9549337 h 11515965"/>
              <a:gd name="connsiteX111" fmla="*/ 6348784 w 9476410"/>
              <a:gd name="connsiteY111" fmla="*/ 9792623 h 11515965"/>
              <a:gd name="connsiteX112" fmla="*/ 5876412 w 9476410"/>
              <a:gd name="connsiteY112" fmla="*/ 9683536 h 11515965"/>
              <a:gd name="connsiteX113" fmla="*/ 5827470 w 9476410"/>
              <a:gd name="connsiteY113" fmla="*/ 9681193 h 11515965"/>
              <a:gd name="connsiteX114" fmla="*/ 5663082 w 9476410"/>
              <a:gd name="connsiteY114" fmla="*/ 9482684 h 11515965"/>
              <a:gd name="connsiteX115" fmla="*/ 5712891 w 9476410"/>
              <a:gd name="connsiteY115" fmla="*/ 9476556 h 11515965"/>
              <a:gd name="connsiteX116" fmla="*/ 5795554 w 9476410"/>
              <a:gd name="connsiteY116" fmla="*/ 9485169 h 11515965"/>
              <a:gd name="connsiteX117" fmla="*/ 5765655 w 9476410"/>
              <a:gd name="connsiteY117" fmla="*/ 9449035 h 11515965"/>
              <a:gd name="connsiteX118" fmla="*/ 5869826 w 9476410"/>
              <a:gd name="connsiteY118" fmla="*/ 8947147 h 11515965"/>
              <a:gd name="connsiteX119" fmla="*/ 5861456 w 9476410"/>
              <a:gd name="connsiteY119" fmla="*/ 9429199 h 11515965"/>
              <a:gd name="connsiteX120" fmla="*/ 5882500 w 9476410"/>
              <a:gd name="connsiteY120" fmla="*/ 9494229 h 11515965"/>
              <a:gd name="connsiteX121" fmla="*/ 5891497 w 9476410"/>
              <a:gd name="connsiteY121" fmla="*/ 9495167 h 11515965"/>
              <a:gd name="connsiteX122" fmla="*/ 5951287 w 9476410"/>
              <a:gd name="connsiteY122" fmla="*/ 9510476 h 11515965"/>
              <a:gd name="connsiteX123" fmla="*/ 5945358 w 9476410"/>
              <a:gd name="connsiteY123" fmla="*/ 9498052 h 11515965"/>
              <a:gd name="connsiteX124" fmla="*/ 5909373 w 9476410"/>
              <a:gd name="connsiteY124" fmla="*/ 9222695 h 11515965"/>
              <a:gd name="connsiteX125" fmla="*/ 6012931 w 9476410"/>
              <a:gd name="connsiteY125" fmla="*/ 8879690 h 11515965"/>
              <a:gd name="connsiteX126" fmla="*/ 6062872 w 9476410"/>
              <a:gd name="connsiteY126" fmla="*/ 8810885 h 11515965"/>
              <a:gd name="connsiteX127" fmla="*/ 6015631 w 9476410"/>
              <a:gd name="connsiteY127" fmla="*/ 8818604 h 11515965"/>
              <a:gd name="connsiteX128" fmla="*/ 5632580 w 9476410"/>
              <a:gd name="connsiteY128" fmla="*/ 8476545 h 11515965"/>
              <a:gd name="connsiteX129" fmla="*/ 6045972 w 9476410"/>
              <a:gd name="connsiteY129" fmla="*/ 8725595 h 11515965"/>
              <a:gd name="connsiteX130" fmla="*/ 6113764 w 9476410"/>
              <a:gd name="connsiteY130" fmla="*/ 8740770 h 11515965"/>
              <a:gd name="connsiteX131" fmla="*/ 6120408 w 9476410"/>
              <a:gd name="connsiteY131" fmla="*/ 8731615 h 11515965"/>
              <a:gd name="connsiteX132" fmla="*/ 6168057 w 9476410"/>
              <a:gd name="connsiteY132" fmla="*/ 8689185 h 11515965"/>
              <a:gd name="connsiteX133" fmla="*/ 6150287 w 9476410"/>
              <a:gd name="connsiteY133" fmla="*/ 8687888 h 11515965"/>
              <a:gd name="connsiteX134" fmla="*/ 5894355 w 9476410"/>
              <a:gd name="connsiteY134" fmla="*/ 8582064 h 11515965"/>
              <a:gd name="connsiteX135" fmla="*/ 5648408 w 9476410"/>
              <a:gd name="connsiteY135" fmla="*/ 8314644 h 11515965"/>
              <a:gd name="connsiteX136" fmla="*/ 5613202 w 9476410"/>
              <a:gd name="connsiteY136" fmla="*/ 8250711 h 11515965"/>
              <a:gd name="connsiteX137" fmla="*/ 5599554 w 9476410"/>
              <a:gd name="connsiteY137" fmla="*/ 8286483 h 11515965"/>
              <a:gd name="connsiteX138" fmla="*/ 5109057 w 9476410"/>
              <a:gd name="connsiteY138" fmla="*/ 8445817 h 11515965"/>
              <a:gd name="connsiteX139" fmla="*/ 5534144 w 9476410"/>
              <a:gd name="connsiteY139" fmla="*/ 8213016 h 11515965"/>
              <a:gd name="connsiteX140" fmla="*/ 5577218 w 9476410"/>
              <a:gd name="connsiteY140" fmla="*/ 8166516 h 11515965"/>
              <a:gd name="connsiteX141" fmla="*/ 5572034 w 9476410"/>
              <a:gd name="connsiteY141" fmla="*/ 8153655 h 11515965"/>
              <a:gd name="connsiteX142" fmla="*/ 5556587 w 9476410"/>
              <a:gd name="connsiteY142" fmla="*/ 8096288 h 11515965"/>
              <a:gd name="connsiteX143" fmla="*/ 5549494 w 9476410"/>
              <a:gd name="connsiteY143" fmla="*/ 8105990 h 11515965"/>
              <a:gd name="connsiteX144" fmla="*/ 5327240 w 9476410"/>
              <a:gd name="connsiteY144" fmla="*/ 8272104 h 11515965"/>
              <a:gd name="connsiteX145" fmla="*/ 4978492 w 9476410"/>
              <a:gd name="connsiteY145" fmla="*/ 8354692 h 11515965"/>
              <a:gd name="connsiteX146" fmla="*/ 4904447 w 9476410"/>
              <a:gd name="connsiteY146" fmla="*/ 8352356 h 11515965"/>
              <a:gd name="connsiteX147" fmla="*/ 4920539 w 9476410"/>
              <a:gd name="connsiteY147" fmla="*/ 8371229 h 11515965"/>
              <a:gd name="connsiteX148" fmla="*/ 4985371 w 9476410"/>
              <a:gd name="connsiteY148" fmla="*/ 8654905 h 11515965"/>
              <a:gd name="connsiteX149" fmla="*/ 4983349 w 9476410"/>
              <a:gd name="connsiteY149" fmla="*/ 8661863 h 11515965"/>
              <a:gd name="connsiteX150" fmla="*/ 4848375 w 9476410"/>
              <a:gd name="connsiteY150" fmla="*/ 8498874 h 11515965"/>
              <a:gd name="connsiteX151" fmla="*/ 4831969 w 9476410"/>
              <a:gd name="connsiteY151" fmla="*/ 8402010 h 11515965"/>
              <a:gd name="connsiteX152" fmla="*/ 4812197 w 9476410"/>
              <a:gd name="connsiteY152" fmla="*/ 8340912 h 11515965"/>
              <a:gd name="connsiteX153" fmla="*/ 4797701 w 9476410"/>
              <a:gd name="connsiteY153" fmla="*/ 8338813 h 11515965"/>
              <a:gd name="connsiteX154" fmla="*/ 4740120 w 9476410"/>
              <a:gd name="connsiteY154" fmla="*/ 8323575 h 11515965"/>
              <a:gd name="connsiteX155" fmla="*/ 4744916 w 9476410"/>
              <a:gd name="connsiteY155" fmla="*/ 8333763 h 11515965"/>
              <a:gd name="connsiteX156" fmla="*/ 4763200 w 9476410"/>
              <a:gd name="connsiteY156" fmla="*/ 8396019 h 11515965"/>
              <a:gd name="connsiteX157" fmla="*/ 4690748 w 9476410"/>
              <a:gd name="connsiteY157" fmla="*/ 8308530 h 11515965"/>
              <a:gd name="connsiteX158" fmla="*/ 4690846 w 9476410"/>
              <a:gd name="connsiteY158" fmla="*/ 8307981 h 11515965"/>
              <a:gd name="connsiteX159" fmla="*/ 4690023 w 9476410"/>
              <a:gd name="connsiteY159" fmla="*/ 8307654 h 11515965"/>
              <a:gd name="connsiteX160" fmla="*/ 4514431 w 9476410"/>
              <a:gd name="connsiteY160" fmla="*/ 8095616 h 11515965"/>
              <a:gd name="connsiteX161" fmla="*/ 4653591 w 9476410"/>
              <a:gd name="connsiteY161" fmla="*/ 8128146 h 11515965"/>
              <a:gd name="connsiteX162" fmla="*/ 4977137 w 9476410"/>
              <a:gd name="connsiteY162" fmla="*/ 8155763 h 11515965"/>
              <a:gd name="connsiteX163" fmla="*/ 5298299 w 9476410"/>
              <a:gd name="connsiteY163" fmla="*/ 8118521 h 11515965"/>
              <a:gd name="connsiteX164" fmla="*/ 5545453 w 9476410"/>
              <a:gd name="connsiteY164" fmla="*/ 8044622 h 11515965"/>
              <a:gd name="connsiteX165" fmla="*/ 5535774 w 9476410"/>
              <a:gd name="connsiteY165" fmla="*/ 7976511 h 11515965"/>
              <a:gd name="connsiteX166" fmla="*/ 5601338 w 9476410"/>
              <a:gd name="connsiteY166" fmla="*/ 7610453 h 11515965"/>
              <a:gd name="connsiteX167" fmla="*/ 5821555 w 9476410"/>
              <a:gd name="connsiteY167" fmla="*/ 8215971 h 11515965"/>
              <a:gd name="connsiteX168" fmla="*/ 6124200 w 9476410"/>
              <a:gd name="connsiteY168" fmla="*/ 8590702 h 11515965"/>
              <a:gd name="connsiteX169" fmla="*/ 6203560 w 9476410"/>
              <a:gd name="connsiteY169" fmla="*/ 8657570 h 11515965"/>
              <a:gd name="connsiteX170" fmla="*/ 6256289 w 9476410"/>
              <a:gd name="connsiteY170" fmla="*/ 8610616 h 11515965"/>
              <a:gd name="connsiteX171" fmla="*/ 6607271 w 9476410"/>
              <a:gd name="connsiteY171" fmla="*/ 8483694 h 11515965"/>
              <a:gd name="connsiteX172" fmla="*/ 2493258 w 9476410"/>
              <a:gd name="connsiteY172" fmla="*/ 3241978 h 11515965"/>
              <a:gd name="connsiteX173" fmla="*/ 1279984 w 9476410"/>
              <a:gd name="connsiteY173" fmla="*/ 4076809 h 11515965"/>
              <a:gd name="connsiteX174" fmla="*/ 1235787 w 9476410"/>
              <a:gd name="connsiteY174" fmla="*/ 4136446 h 11515965"/>
              <a:gd name="connsiteX175" fmla="*/ 1048507 w 9476410"/>
              <a:gd name="connsiteY175" fmla="*/ 3910294 h 11515965"/>
              <a:gd name="connsiteX176" fmla="*/ 1060624 w 9476410"/>
              <a:gd name="connsiteY176" fmla="*/ 3873852 h 11515965"/>
              <a:gd name="connsiteX177" fmla="*/ 2493258 w 9476410"/>
              <a:gd name="connsiteY177" fmla="*/ 3241978 h 11515965"/>
              <a:gd name="connsiteX178" fmla="*/ 9181445 w 9476410"/>
              <a:gd name="connsiteY178" fmla="*/ 10773701 h 11515965"/>
              <a:gd name="connsiteX179" fmla="*/ 9142089 w 9476410"/>
              <a:gd name="connsiteY179" fmla="*/ 10858373 h 11515965"/>
              <a:gd name="connsiteX180" fmla="*/ 9115298 w 9476410"/>
              <a:gd name="connsiteY180" fmla="*/ 10925414 h 11515965"/>
              <a:gd name="connsiteX181" fmla="*/ 8993271 w 9476410"/>
              <a:gd name="connsiteY181" fmla="*/ 11026466 h 11515965"/>
              <a:gd name="connsiteX182" fmla="*/ 8993251 w 9476410"/>
              <a:gd name="connsiteY182" fmla="*/ 10997165 h 11515965"/>
              <a:gd name="connsiteX183" fmla="*/ 9181445 w 9476410"/>
              <a:gd name="connsiteY183" fmla="*/ 10773701 h 11515965"/>
              <a:gd name="connsiteX184" fmla="*/ 9445715 w 9476410"/>
              <a:gd name="connsiteY184" fmla="*/ 10651791 h 11515965"/>
              <a:gd name="connsiteX185" fmla="*/ 9253736 w 9476410"/>
              <a:gd name="connsiteY185" fmla="*/ 10810771 h 11515965"/>
              <a:gd name="connsiteX186" fmla="*/ 9301602 w 9476410"/>
              <a:gd name="connsiteY186" fmla="*/ 10752407 h 11515965"/>
              <a:gd name="connsiteX187" fmla="*/ 9350408 w 9476410"/>
              <a:gd name="connsiteY187" fmla="*/ 10714712 h 11515965"/>
              <a:gd name="connsiteX188" fmla="*/ 9315850 w 9476410"/>
              <a:gd name="connsiteY188" fmla="*/ 10710613 h 11515965"/>
              <a:gd name="connsiteX189" fmla="*/ 9114840 w 9476410"/>
              <a:gd name="connsiteY189" fmla="*/ 10387725 h 11515965"/>
              <a:gd name="connsiteX190" fmla="*/ 9357147 w 9476410"/>
              <a:gd name="connsiteY190" fmla="*/ 10650911 h 11515965"/>
              <a:gd name="connsiteX191" fmla="*/ 9401743 w 9476410"/>
              <a:gd name="connsiteY191" fmla="*/ 10675063 h 11515965"/>
              <a:gd name="connsiteX192" fmla="*/ 9407057 w 9476410"/>
              <a:gd name="connsiteY192" fmla="*/ 10670959 h 11515965"/>
              <a:gd name="connsiteX193" fmla="*/ 5131229 w 9476410"/>
              <a:gd name="connsiteY193" fmla="*/ 5285990 h 11515965"/>
              <a:gd name="connsiteX194" fmla="*/ 4678632 w 9476410"/>
              <a:gd name="connsiteY194" fmla="*/ 6052422 h 11515965"/>
              <a:gd name="connsiteX195" fmla="*/ 4544572 w 9476410"/>
              <a:gd name="connsiteY195" fmla="*/ 6704193 h 11515965"/>
              <a:gd name="connsiteX196" fmla="*/ 4542971 w 9476410"/>
              <a:gd name="connsiteY196" fmla="*/ 6841920 h 11515965"/>
              <a:gd name="connsiteX197" fmla="*/ 4639278 w 9476410"/>
              <a:gd name="connsiteY197" fmla="*/ 6862572 h 11515965"/>
              <a:gd name="connsiteX198" fmla="*/ 5082759 w 9476410"/>
              <a:gd name="connsiteY198" fmla="*/ 7125552 h 11515965"/>
              <a:gd name="connsiteX199" fmla="*/ 4191333 w 9476410"/>
              <a:gd name="connsiteY199" fmla="*/ 7113139 h 11515965"/>
              <a:gd name="connsiteX200" fmla="*/ 3865124 w 9476410"/>
              <a:gd name="connsiteY200" fmla="*/ 7195157 h 11515965"/>
              <a:gd name="connsiteX201" fmla="*/ 3793449 w 9476410"/>
              <a:gd name="connsiteY201" fmla="*/ 7224984 h 11515965"/>
              <a:gd name="connsiteX202" fmla="*/ 3652674 w 9476410"/>
              <a:gd name="connsiteY202" fmla="*/ 7054989 h 11515965"/>
              <a:gd name="connsiteX203" fmla="*/ 3681850 w 9476410"/>
              <a:gd name="connsiteY203" fmla="*/ 7029805 h 11515965"/>
              <a:gd name="connsiteX204" fmla="*/ 4138637 w 9476410"/>
              <a:gd name="connsiteY204" fmla="*/ 6839177 h 11515965"/>
              <a:gd name="connsiteX205" fmla="*/ 4245193 w 9476410"/>
              <a:gd name="connsiteY205" fmla="*/ 6827200 h 11515965"/>
              <a:gd name="connsiteX206" fmla="*/ 4206167 w 9476410"/>
              <a:gd name="connsiteY206" fmla="*/ 6788437 h 11515965"/>
              <a:gd name="connsiteX207" fmla="*/ 4234795 w 9476410"/>
              <a:gd name="connsiteY207" fmla="*/ 6079575 h 11515965"/>
              <a:gd name="connsiteX208" fmla="*/ 4332012 w 9476410"/>
              <a:gd name="connsiteY208" fmla="*/ 6739157 h 11515965"/>
              <a:gd name="connsiteX209" fmla="*/ 4374928 w 9476410"/>
              <a:gd name="connsiteY209" fmla="*/ 6823991 h 11515965"/>
              <a:gd name="connsiteX210" fmla="*/ 4390932 w 9476410"/>
              <a:gd name="connsiteY210" fmla="*/ 6823843 h 11515965"/>
              <a:gd name="connsiteX211" fmla="*/ 4474215 w 9476410"/>
              <a:gd name="connsiteY211" fmla="*/ 6832047 h 11515965"/>
              <a:gd name="connsiteX212" fmla="*/ 4463802 w 9476410"/>
              <a:gd name="connsiteY212" fmla="*/ 6817329 h 11515965"/>
              <a:gd name="connsiteX213" fmla="*/ 4352026 w 9476410"/>
              <a:gd name="connsiteY213" fmla="*/ 6451436 h 11515965"/>
              <a:gd name="connsiteX214" fmla="*/ 4421389 w 9476410"/>
              <a:gd name="connsiteY214" fmla="*/ 5954342 h 11515965"/>
              <a:gd name="connsiteX215" fmla="*/ 4458682 w 9476410"/>
              <a:gd name="connsiteY215" fmla="*/ 5860668 h 11515965"/>
              <a:gd name="connsiteX216" fmla="*/ 4408545 w 9476410"/>
              <a:gd name="connsiteY216" fmla="*/ 5877510 h 11515965"/>
              <a:gd name="connsiteX217" fmla="*/ 3808023 w 9476410"/>
              <a:gd name="connsiteY217" fmla="*/ 5494164 h 11515965"/>
              <a:gd name="connsiteX218" fmla="*/ 4429493 w 9476410"/>
              <a:gd name="connsiteY218" fmla="*/ 5743248 h 11515965"/>
              <a:gd name="connsiteX219" fmla="*/ 4516905 w 9476410"/>
              <a:gd name="connsiteY219" fmla="*/ 5748375 h 11515965"/>
              <a:gd name="connsiteX220" fmla="*/ 4526074 w 9476410"/>
              <a:gd name="connsiteY220" fmla="*/ 5731557 h 11515965"/>
              <a:gd name="connsiteX221" fmla="*/ 4573705 w 9476410"/>
              <a:gd name="connsiteY221" fmla="*/ 5664723 h 11515965"/>
              <a:gd name="connsiteX222" fmla="*/ 4557132 w 9476410"/>
              <a:gd name="connsiteY222" fmla="*/ 5665675 h 11515965"/>
              <a:gd name="connsiteX223" fmla="*/ 4184842 w 9476410"/>
              <a:gd name="connsiteY223" fmla="*/ 5574412 h 11515965"/>
              <a:gd name="connsiteX224" fmla="*/ 3790616 w 9476410"/>
              <a:gd name="connsiteY224" fmla="*/ 5274904 h 11515965"/>
              <a:gd name="connsiteX225" fmla="*/ 3726939 w 9476410"/>
              <a:gd name="connsiteY225" fmla="*/ 5192349 h 11515965"/>
              <a:gd name="connsiteX226" fmla="*/ 3716776 w 9476410"/>
              <a:gd name="connsiteY226" fmla="*/ 5244920 h 11515965"/>
              <a:gd name="connsiteX227" fmla="*/ 3089969 w 9476410"/>
              <a:gd name="connsiteY227" fmla="*/ 5574359 h 11515965"/>
              <a:gd name="connsiteX228" fmla="*/ 3611521 w 9476410"/>
              <a:gd name="connsiteY228" fmla="*/ 5160141 h 11515965"/>
              <a:gd name="connsiteX229" fmla="*/ 3659340 w 9476410"/>
              <a:gd name="connsiteY229" fmla="*/ 5085418 h 11515965"/>
              <a:gd name="connsiteX230" fmla="*/ 3648861 w 9476410"/>
              <a:gd name="connsiteY230" fmla="*/ 5068123 h 11515965"/>
              <a:gd name="connsiteX231" fmla="*/ 3614566 w 9476410"/>
              <a:gd name="connsiteY231" fmla="*/ 4993320 h 11515965"/>
              <a:gd name="connsiteX232" fmla="*/ 3607913 w 9476410"/>
              <a:gd name="connsiteY232" fmla="*/ 5007385 h 11515965"/>
              <a:gd name="connsiteX233" fmla="*/ 3347058 w 9476410"/>
              <a:gd name="connsiteY233" fmla="*/ 5288024 h 11515965"/>
              <a:gd name="connsiteX234" fmla="*/ 2884880 w 9476410"/>
              <a:gd name="connsiteY234" fmla="*/ 5471997 h 11515965"/>
              <a:gd name="connsiteX235" fmla="*/ 2781395 w 9476410"/>
              <a:gd name="connsiteY235" fmla="*/ 5486389 h 11515965"/>
              <a:gd name="connsiteX236" fmla="*/ 2821506 w 9476410"/>
              <a:gd name="connsiteY236" fmla="*/ 5525895 h 11515965"/>
              <a:gd name="connsiteX237" fmla="*/ 2915032 w 9476410"/>
              <a:gd name="connsiteY237" fmla="*/ 6074944 h 11515965"/>
              <a:gd name="connsiteX238" fmla="*/ 2882945 w 9476410"/>
              <a:gd name="connsiteY238" fmla="*/ 6125493 h 11515965"/>
              <a:gd name="connsiteX239" fmla="*/ 2786386 w 9476410"/>
              <a:gd name="connsiteY239" fmla="*/ 6008892 h 11515965"/>
              <a:gd name="connsiteX240" fmla="*/ 2779579 w 9476410"/>
              <a:gd name="connsiteY240" fmla="*/ 5894781 h 11515965"/>
              <a:gd name="connsiteX241" fmla="*/ 2695429 w 9476410"/>
              <a:gd name="connsiteY241" fmla="*/ 5573306 h 11515965"/>
              <a:gd name="connsiteX242" fmla="*/ 2653248 w 9476410"/>
              <a:gd name="connsiteY242" fmla="*/ 5491818 h 11515965"/>
              <a:gd name="connsiteX243" fmla="*/ 2560361 w 9476410"/>
              <a:gd name="connsiteY243" fmla="*/ 5487876 h 11515965"/>
              <a:gd name="connsiteX244" fmla="*/ 2560079 w 9476410"/>
              <a:gd name="connsiteY244" fmla="*/ 5487837 h 11515965"/>
              <a:gd name="connsiteX245" fmla="*/ 2605478 w 9476410"/>
              <a:gd name="connsiteY245" fmla="*/ 5578075 h 11515965"/>
              <a:gd name="connsiteX246" fmla="*/ 2670939 w 9476410"/>
              <a:gd name="connsiteY246" fmla="*/ 5865315 h 11515965"/>
              <a:gd name="connsiteX247" fmla="*/ 2671092 w 9476410"/>
              <a:gd name="connsiteY247" fmla="*/ 5869667 h 11515965"/>
              <a:gd name="connsiteX248" fmla="*/ 2480913 w 9476410"/>
              <a:gd name="connsiteY248" fmla="*/ 5640014 h 11515965"/>
              <a:gd name="connsiteX249" fmla="*/ 2487879 w 9476410"/>
              <a:gd name="connsiteY249" fmla="*/ 5475884 h 11515965"/>
              <a:gd name="connsiteX250" fmla="*/ 2391137 w 9476410"/>
              <a:gd name="connsiteY250" fmla="*/ 5455723 h 11515965"/>
              <a:gd name="connsiteX251" fmla="*/ 2304226 w 9476410"/>
              <a:gd name="connsiteY251" fmla="*/ 5426654 h 11515965"/>
              <a:gd name="connsiteX252" fmla="*/ 2134546 w 9476410"/>
              <a:gd name="connsiteY252" fmla="*/ 5221754 h 11515965"/>
              <a:gd name="connsiteX253" fmla="*/ 2169535 w 9476410"/>
              <a:gd name="connsiteY253" fmla="*/ 5227262 h 11515965"/>
              <a:gd name="connsiteX254" fmla="*/ 2838420 w 9476410"/>
              <a:gd name="connsiteY254" fmla="*/ 5204685 h 11515965"/>
              <a:gd name="connsiteX255" fmla="*/ 3471005 w 9476410"/>
              <a:gd name="connsiteY255" fmla="*/ 4992951 h 11515965"/>
              <a:gd name="connsiteX256" fmla="*/ 3587952 w 9476410"/>
              <a:gd name="connsiteY256" fmla="*/ 4927077 h 11515965"/>
              <a:gd name="connsiteX257" fmla="*/ 3558529 w 9476410"/>
              <a:gd name="connsiteY257" fmla="*/ 4835375 h 11515965"/>
              <a:gd name="connsiteX258" fmla="*/ 3569674 w 9476410"/>
              <a:gd name="connsiteY258" fmla="*/ 4321176 h 11515965"/>
              <a:gd name="connsiteX259" fmla="*/ 4001624 w 9476410"/>
              <a:gd name="connsiteY259" fmla="*/ 5098836 h 11515965"/>
              <a:gd name="connsiteX260" fmla="*/ 4503371 w 9476410"/>
              <a:gd name="connsiteY260" fmla="*/ 5541247 h 11515965"/>
              <a:gd name="connsiteX261" fmla="*/ 4616396 w 9476410"/>
              <a:gd name="connsiteY261" fmla="*/ 5610388 h 11515965"/>
              <a:gd name="connsiteX262" fmla="*/ 4683204 w 9476410"/>
              <a:gd name="connsiteY262" fmla="*/ 5537380 h 11515965"/>
              <a:gd name="connsiteX263" fmla="*/ 5131229 w 9476410"/>
              <a:gd name="connsiteY263" fmla="*/ 5285990 h 11515965"/>
              <a:gd name="connsiteX264" fmla="*/ 9273628 w 9476410"/>
              <a:gd name="connsiteY264" fmla="*/ 9761253 h 11515965"/>
              <a:gd name="connsiteX265" fmla="*/ 9301862 w 9476410"/>
              <a:gd name="connsiteY265" fmla="*/ 10239277 h 11515965"/>
              <a:gd name="connsiteX266" fmla="*/ 9439834 w 9476410"/>
              <a:gd name="connsiteY266" fmla="*/ 10571903 h 11515965"/>
              <a:gd name="connsiteX267" fmla="*/ 9476410 w 9476410"/>
              <a:gd name="connsiteY267" fmla="*/ 10626371 h 11515965"/>
              <a:gd name="connsiteX268" fmla="*/ 9448783 w 9476410"/>
              <a:gd name="connsiteY268" fmla="*/ 10649249 h 11515965"/>
              <a:gd name="connsiteX269" fmla="*/ 9437463 w 9476410"/>
              <a:gd name="connsiteY269" fmla="*/ 10644934 h 11515965"/>
              <a:gd name="connsiteX270" fmla="*/ 9277157 w 9476410"/>
              <a:gd name="connsiteY270" fmla="*/ 10515469 h 11515965"/>
              <a:gd name="connsiteX271" fmla="*/ 9157162 w 9476410"/>
              <a:gd name="connsiteY271" fmla="*/ 10278227 h 11515965"/>
              <a:gd name="connsiteX272" fmla="*/ 9148758 w 9476410"/>
              <a:gd name="connsiteY272" fmla="*/ 10215703 h 11515965"/>
              <a:gd name="connsiteX273" fmla="*/ 9127337 w 9476410"/>
              <a:gd name="connsiteY273" fmla="*/ 10244036 h 11515965"/>
              <a:gd name="connsiteX274" fmla="*/ 8746479 w 9476410"/>
              <a:gd name="connsiteY274" fmla="*/ 10256438 h 11515965"/>
              <a:gd name="connsiteX275" fmla="*/ 9096013 w 9476410"/>
              <a:gd name="connsiteY275" fmla="*/ 10178549 h 11515965"/>
              <a:gd name="connsiteX276" fmla="*/ 9140193 w 9476410"/>
              <a:gd name="connsiteY276" fmla="*/ 10151991 h 11515965"/>
              <a:gd name="connsiteX277" fmla="*/ 9139074 w 9476410"/>
              <a:gd name="connsiteY277" fmla="*/ 10143672 h 11515965"/>
              <a:gd name="connsiteX278" fmla="*/ 9143499 w 9476410"/>
              <a:gd name="connsiteY278" fmla="*/ 10089691 h 11515965"/>
              <a:gd name="connsiteX279" fmla="*/ 9071620 w 9476410"/>
              <a:gd name="connsiteY279" fmla="*/ 10138806 h 11515965"/>
              <a:gd name="connsiteX280" fmla="*/ 8941098 w 9476410"/>
              <a:gd name="connsiteY280" fmla="*/ 10179085 h 11515965"/>
              <a:gd name="connsiteX281" fmla="*/ 8672090 w 9476410"/>
              <a:gd name="connsiteY281" fmla="*/ 10161380 h 11515965"/>
              <a:gd name="connsiteX282" fmla="*/ 8618699 w 9476410"/>
              <a:gd name="connsiteY282" fmla="*/ 10140896 h 11515965"/>
              <a:gd name="connsiteX283" fmla="*/ 8631433 w 9476410"/>
              <a:gd name="connsiteY283" fmla="*/ 10171268 h 11515965"/>
              <a:gd name="connsiteX284" fmla="*/ 8449573 w 9476410"/>
              <a:gd name="connsiteY284" fmla="*/ 10507970 h 11515965"/>
              <a:gd name="connsiteX285" fmla="*/ 8558689 w 9476410"/>
              <a:gd name="connsiteY285" fmla="*/ 10165300 h 11515965"/>
              <a:gd name="connsiteX286" fmla="*/ 8555195 w 9476410"/>
              <a:gd name="connsiteY286" fmla="*/ 10116531 h 11515965"/>
              <a:gd name="connsiteX287" fmla="*/ 8548647 w 9476410"/>
              <a:gd name="connsiteY287" fmla="*/ 10114019 h 11515965"/>
              <a:gd name="connsiteX288" fmla="*/ 8510980 w 9476410"/>
              <a:gd name="connsiteY288" fmla="*/ 10091117 h 11515965"/>
              <a:gd name="connsiteX289" fmla="*/ 8512138 w 9476410"/>
              <a:gd name="connsiteY289" fmla="*/ 10099960 h 11515965"/>
              <a:gd name="connsiteX290" fmla="*/ 8477817 w 9476410"/>
              <a:gd name="connsiteY290" fmla="*/ 10302968 h 11515965"/>
              <a:gd name="connsiteX291" fmla="*/ 8332795 w 9476410"/>
              <a:gd name="connsiteY291" fmla="*/ 10525877 h 11515965"/>
              <a:gd name="connsiteX292" fmla="*/ 8286117 w 9476410"/>
              <a:gd name="connsiteY292" fmla="*/ 10563153 h 11515965"/>
              <a:gd name="connsiteX293" fmla="*/ 8356023 w 9476410"/>
              <a:gd name="connsiteY293" fmla="*/ 10577942 h 11515965"/>
              <a:gd name="connsiteX294" fmla="*/ 8492521 w 9476410"/>
              <a:gd name="connsiteY294" fmla="*/ 10687192 h 11515965"/>
              <a:gd name="connsiteX295" fmla="*/ 8520633 w 9476410"/>
              <a:gd name="connsiteY295" fmla="*/ 10889495 h 11515965"/>
              <a:gd name="connsiteX296" fmla="*/ 8278326 w 9476410"/>
              <a:gd name="connsiteY296" fmla="*/ 10626309 h 11515965"/>
              <a:gd name="connsiteX297" fmla="*/ 8235843 w 9476410"/>
              <a:gd name="connsiteY297" fmla="*/ 10603301 h 11515965"/>
              <a:gd name="connsiteX298" fmla="*/ 8227566 w 9476410"/>
              <a:gd name="connsiteY298" fmla="*/ 10609911 h 11515965"/>
              <a:gd name="connsiteX299" fmla="*/ 8185454 w 9476410"/>
              <a:gd name="connsiteY299" fmla="*/ 10629897 h 11515965"/>
              <a:gd name="connsiteX300" fmla="*/ 8196631 w 9476410"/>
              <a:gd name="connsiteY300" fmla="*/ 10634224 h 11515965"/>
              <a:gd name="connsiteX301" fmla="*/ 8357178 w 9476410"/>
              <a:gd name="connsiteY301" fmla="*/ 10762980 h 11515965"/>
              <a:gd name="connsiteX302" fmla="*/ 8473820 w 9476410"/>
              <a:gd name="connsiteY302" fmla="*/ 11003369 h 11515965"/>
              <a:gd name="connsiteX303" fmla="*/ 8486085 w 9476410"/>
              <a:gd name="connsiteY303" fmla="*/ 11060613 h 11515965"/>
              <a:gd name="connsiteX304" fmla="*/ 8505173 w 9476410"/>
              <a:gd name="connsiteY304" fmla="*/ 11035209 h 11515965"/>
              <a:gd name="connsiteX305" fmla="*/ 8884540 w 9476410"/>
              <a:gd name="connsiteY305" fmla="*/ 11024759 h 11515965"/>
              <a:gd name="connsiteX306" fmla="*/ 8535502 w 9476410"/>
              <a:gd name="connsiteY306" fmla="*/ 11100896 h 11515965"/>
              <a:gd name="connsiteX307" fmla="*/ 8493500 w 9476410"/>
              <a:gd name="connsiteY307" fmla="*/ 11126681 h 11515965"/>
              <a:gd name="connsiteX308" fmla="*/ 8495028 w 9476410"/>
              <a:gd name="connsiteY308" fmla="*/ 11176591 h 11515965"/>
              <a:gd name="connsiteX309" fmla="*/ 8495011 w 9476410"/>
              <a:gd name="connsiteY309" fmla="*/ 11176778 h 11515965"/>
              <a:gd name="connsiteX310" fmla="*/ 8591133 w 9476410"/>
              <a:gd name="connsiteY310" fmla="*/ 11127816 h 11515965"/>
              <a:gd name="connsiteX311" fmla="*/ 8692895 w 9476410"/>
              <a:gd name="connsiteY311" fmla="*/ 11102585 h 11515965"/>
              <a:gd name="connsiteX312" fmla="*/ 8826956 w 9476410"/>
              <a:gd name="connsiteY312" fmla="*/ 11095060 h 11515965"/>
              <a:gd name="connsiteX313" fmla="*/ 8896564 w 9476410"/>
              <a:gd name="connsiteY313" fmla="*/ 11106550 h 11515965"/>
              <a:gd name="connsiteX314" fmla="*/ 8753447 w 9476410"/>
              <a:gd name="connsiteY314" fmla="*/ 11225067 h 11515965"/>
              <a:gd name="connsiteX315" fmla="*/ 8707939 w 9476410"/>
              <a:gd name="connsiteY315" fmla="*/ 11218556 h 11515965"/>
              <a:gd name="connsiteX316" fmla="*/ 8491437 w 9476410"/>
              <a:gd name="connsiteY316" fmla="*/ 11215903 h 11515965"/>
              <a:gd name="connsiteX317" fmla="*/ 8484424 w 9476410"/>
              <a:gd name="connsiteY317" fmla="*/ 11268505 h 11515965"/>
              <a:gd name="connsiteX318" fmla="*/ 8360713 w 9476410"/>
              <a:gd name="connsiteY318" fmla="*/ 11515965 h 11515965"/>
              <a:gd name="connsiteX319" fmla="*/ 8332436 w 9476410"/>
              <a:gd name="connsiteY319" fmla="*/ 11038721 h 11515965"/>
              <a:gd name="connsiteX320" fmla="*/ 8194256 w 9476410"/>
              <a:gd name="connsiteY320" fmla="*/ 10708131 h 11515965"/>
              <a:gd name="connsiteX321" fmla="*/ 8152665 w 9476410"/>
              <a:gd name="connsiteY321" fmla="*/ 10645460 h 11515965"/>
              <a:gd name="connsiteX322" fmla="*/ 8106419 w 9476410"/>
              <a:gd name="connsiteY322" fmla="*/ 10667407 h 11515965"/>
              <a:gd name="connsiteX323" fmla="*/ 7830523 w 9476410"/>
              <a:gd name="connsiteY323" fmla="*/ 10681560 h 11515965"/>
              <a:gd name="connsiteX324" fmla="*/ 8230219 w 9476410"/>
              <a:gd name="connsiteY324" fmla="*/ 10419730 h 11515965"/>
              <a:gd name="connsiteX325" fmla="*/ 8383641 w 9476410"/>
              <a:gd name="connsiteY325" fmla="*/ 10235298 h 11515965"/>
              <a:gd name="connsiteX326" fmla="*/ 8478548 w 9476410"/>
              <a:gd name="connsiteY326" fmla="*/ 10069070 h 11515965"/>
              <a:gd name="connsiteX327" fmla="*/ 8438477 w 9476410"/>
              <a:gd name="connsiteY327" fmla="*/ 10037443 h 11515965"/>
              <a:gd name="connsiteX328" fmla="*/ 8286275 w 9476410"/>
              <a:gd name="connsiteY328" fmla="*/ 9807273 h 11515965"/>
              <a:gd name="connsiteX329" fmla="*/ 8714565 w 9476410"/>
              <a:gd name="connsiteY329" fmla="*/ 10019737 h 11515965"/>
              <a:gd name="connsiteX330" fmla="*/ 9068965 w 9476410"/>
              <a:gd name="connsiteY330" fmla="*/ 10066048 h 11515965"/>
              <a:gd name="connsiteX331" fmla="*/ 9145824 w 9476410"/>
              <a:gd name="connsiteY331" fmla="*/ 10061331 h 11515965"/>
              <a:gd name="connsiteX332" fmla="*/ 9150103 w 9476410"/>
              <a:gd name="connsiteY332" fmla="*/ 10009117 h 11515965"/>
              <a:gd name="connsiteX333" fmla="*/ 9273628 w 9476410"/>
              <a:gd name="connsiteY333" fmla="*/ 9761253 h 11515965"/>
              <a:gd name="connsiteX334" fmla="*/ 6822010 w 9476410"/>
              <a:gd name="connsiteY334" fmla="*/ 6587908 h 11515965"/>
              <a:gd name="connsiteX335" fmla="*/ 6808514 w 9476410"/>
              <a:gd name="connsiteY335" fmla="*/ 6586923 h 11515965"/>
              <a:gd name="connsiteX336" fmla="*/ 6614147 w 9476410"/>
              <a:gd name="connsiteY336" fmla="*/ 6506554 h 11515965"/>
              <a:gd name="connsiteX337" fmla="*/ 6427363 w 9476410"/>
              <a:gd name="connsiteY337" fmla="*/ 6303462 h 11515965"/>
              <a:gd name="connsiteX338" fmla="*/ 6400626 w 9476410"/>
              <a:gd name="connsiteY338" fmla="*/ 6254908 h 11515965"/>
              <a:gd name="connsiteX339" fmla="*/ 6390261 w 9476410"/>
              <a:gd name="connsiteY339" fmla="*/ 6282075 h 11515965"/>
              <a:gd name="connsiteX340" fmla="*/ 6017754 w 9476410"/>
              <a:gd name="connsiteY340" fmla="*/ 6403081 h 11515965"/>
              <a:gd name="connsiteX341" fmla="*/ 6340585 w 9476410"/>
              <a:gd name="connsiteY341" fmla="*/ 6226281 h 11515965"/>
              <a:gd name="connsiteX342" fmla="*/ 6372127 w 9476410"/>
              <a:gd name="connsiteY342" fmla="*/ 6188062 h 11515965"/>
              <a:gd name="connsiteX343" fmla="*/ 6369361 w 9476410"/>
              <a:gd name="connsiteY343" fmla="*/ 6181199 h 11515965"/>
              <a:gd name="connsiteX344" fmla="*/ 6356008 w 9476410"/>
              <a:gd name="connsiteY344" fmla="*/ 6131612 h 11515965"/>
              <a:gd name="connsiteX345" fmla="*/ 6301066 w 9476410"/>
              <a:gd name="connsiteY345" fmla="*/ 6195654 h 11515965"/>
              <a:gd name="connsiteX346" fmla="*/ 6183452 w 9476410"/>
              <a:gd name="connsiteY346" fmla="*/ 6271156 h 11515965"/>
              <a:gd name="connsiteX347" fmla="*/ 5918595 w 9476410"/>
              <a:gd name="connsiteY347" fmla="*/ 6333878 h 11515965"/>
              <a:gd name="connsiteX348" fmla="*/ 5859445 w 9476410"/>
              <a:gd name="connsiteY348" fmla="*/ 6328682 h 11515965"/>
              <a:gd name="connsiteX349" fmla="*/ 5874582 w 9476410"/>
              <a:gd name="connsiteY349" fmla="*/ 6346436 h 11515965"/>
              <a:gd name="connsiteX350" fmla="*/ 5800960 w 9476410"/>
              <a:gd name="connsiteY350" fmla="*/ 6735906 h 11515965"/>
              <a:gd name="connsiteX351" fmla="*/ 5807318 w 9476410"/>
              <a:gd name="connsiteY351" fmla="*/ 6369813 h 11515965"/>
              <a:gd name="connsiteX352" fmla="*/ 5788857 w 9476410"/>
              <a:gd name="connsiteY352" fmla="*/ 6322482 h 11515965"/>
              <a:gd name="connsiteX353" fmla="*/ 5781293 w 9476410"/>
              <a:gd name="connsiteY353" fmla="*/ 6321818 h 11515965"/>
              <a:gd name="connsiteX354" fmla="*/ 5737564 w 9476410"/>
              <a:gd name="connsiteY354" fmla="*/ 6310245 h 11515965"/>
              <a:gd name="connsiteX355" fmla="*/ 5741206 w 9476410"/>
              <a:gd name="connsiteY355" fmla="*/ 6317982 h 11515965"/>
              <a:gd name="connsiteX356" fmla="*/ 5769216 w 9476410"/>
              <a:gd name="connsiteY356" fmla="*/ 6526749 h 11515965"/>
              <a:gd name="connsiteX357" fmla="*/ 5685861 w 9476410"/>
              <a:gd name="connsiteY357" fmla="*/ 6787208 h 11515965"/>
              <a:gd name="connsiteX358" fmla="*/ 5655636 w 9476410"/>
              <a:gd name="connsiteY358" fmla="*/ 6836461 h 11515965"/>
              <a:gd name="connsiteX359" fmla="*/ 5706289 w 9476410"/>
              <a:gd name="connsiteY359" fmla="*/ 6832668 h 11515965"/>
              <a:gd name="connsiteX360" fmla="*/ 5935593 w 9476410"/>
              <a:gd name="connsiteY360" fmla="*/ 6954111 h 11515965"/>
              <a:gd name="connsiteX361" fmla="*/ 5975028 w 9476410"/>
              <a:gd name="connsiteY361" fmla="*/ 7093109 h 11515965"/>
              <a:gd name="connsiteX362" fmla="*/ 5662683 w 9476410"/>
              <a:gd name="connsiteY362" fmla="*/ 6903020 h 11515965"/>
              <a:gd name="connsiteX363" fmla="*/ 5613357 w 9476410"/>
              <a:gd name="connsiteY363" fmla="*/ 6892460 h 11515965"/>
              <a:gd name="connsiteX364" fmla="*/ 5579242 w 9476410"/>
              <a:gd name="connsiteY364" fmla="*/ 6930513 h 11515965"/>
              <a:gd name="connsiteX365" fmla="*/ 5579121 w 9476410"/>
              <a:gd name="connsiteY365" fmla="*/ 6930619 h 11515965"/>
              <a:gd name="connsiteX366" fmla="*/ 5633286 w 9476410"/>
              <a:gd name="connsiteY366" fmla="*/ 6942870 h 11515965"/>
              <a:gd name="connsiteX367" fmla="*/ 5778090 w 9476410"/>
              <a:gd name="connsiteY367" fmla="*/ 7015423 h 11515965"/>
              <a:gd name="connsiteX368" fmla="*/ 5964752 w 9476410"/>
              <a:gd name="connsiteY368" fmla="*/ 7213391 h 11515965"/>
              <a:gd name="connsiteX369" fmla="*/ 5992007 w 9476410"/>
              <a:gd name="connsiteY369" fmla="*/ 7272370 h 11515965"/>
              <a:gd name="connsiteX370" fmla="*/ 6004996 w 9476410"/>
              <a:gd name="connsiteY370" fmla="*/ 7238417 h 11515965"/>
              <a:gd name="connsiteX371" fmla="*/ 6372281 w 9476410"/>
              <a:gd name="connsiteY371" fmla="*/ 7116795 h 11515965"/>
              <a:gd name="connsiteX372" fmla="*/ 6053760 w 9476410"/>
              <a:gd name="connsiteY372" fmla="*/ 7294056 h 11515965"/>
              <a:gd name="connsiteX373" fmla="*/ 6020694 w 9476410"/>
              <a:gd name="connsiteY373" fmla="*/ 7334445 h 11515965"/>
              <a:gd name="connsiteX374" fmla="*/ 6023172 w 9476410"/>
              <a:gd name="connsiteY374" fmla="*/ 7339808 h 11515965"/>
              <a:gd name="connsiteX375" fmla="*/ 6034835 w 9476410"/>
              <a:gd name="connsiteY375" fmla="*/ 7391915 h 11515965"/>
              <a:gd name="connsiteX376" fmla="*/ 6090856 w 9476410"/>
              <a:gd name="connsiteY376" fmla="*/ 7326035 h 11515965"/>
              <a:gd name="connsiteX377" fmla="*/ 6205989 w 9476410"/>
              <a:gd name="connsiteY377" fmla="*/ 7248637 h 11515965"/>
              <a:gd name="connsiteX378" fmla="*/ 6476335 w 9476410"/>
              <a:gd name="connsiteY378" fmla="*/ 7185876 h 11515965"/>
              <a:gd name="connsiteX379" fmla="*/ 6539112 w 9476410"/>
              <a:gd name="connsiteY379" fmla="*/ 7192418 h 11515965"/>
              <a:gd name="connsiteX380" fmla="*/ 6516406 w 9476410"/>
              <a:gd name="connsiteY380" fmla="*/ 7164975 h 11515965"/>
              <a:gd name="connsiteX381" fmla="*/ 6595519 w 9476410"/>
              <a:gd name="connsiteY381" fmla="*/ 6783817 h 11515965"/>
              <a:gd name="connsiteX382" fmla="*/ 6589161 w 9476410"/>
              <a:gd name="connsiteY382" fmla="*/ 7149911 h 11515965"/>
              <a:gd name="connsiteX383" fmla="*/ 6608564 w 9476410"/>
              <a:gd name="connsiteY383" fmla="*/ 7199655 h 11515965"/>
              <a:gd name="connsiteX384" fmla="*/ 6611978 w 9476410"/>
              <a:gd name="connsiteY384" fmla="*/ 7200011 h 11515965"/>
              <a:gd name="connsiteX385" fmla="*/ 6658772 w 9476410"/>
              <a:gd name="connsiteY385" fmla="*/ 7214545 h 11515965"/>
              <a:gd name="connsiteX386" fmla="*/ 6652883 w 9476410"/>
              <a:gd name="connsiteY386" fmla="*/ 7202202 h 11515965"/>
              <a:gd name="connsiteX387" fmla="*/ 6625554 w 9476410"/>
              <a:gd name="connsiteY387" fmla="*/ 6993082 h 11515965"/>
              <a:gd name="connsiteX388" fmla="*/ 6704200 w 9476410"/>
              <a:gd name="connsiteY388" fmla="*/ 6732586 h 11515965"/>
              <a:gd name="connsiteX389" fmla="*/ 6742127 w 9476410"/>
              <a:gd name="connsiteY389" fmla="*/ 6680332 h 11515965"/>
              <a:gd name="connsiteX390" fmla="*/ 6706251 w 9476410"/>
              <a:gd name="connsiteY390" fmla="*/ 6686194 h 11515965"/>
              <a:gd name="connsiteX391" fmla="*/ 6415342 w 9476410"/>
              <a:gd name="connsiteY391" fmla="*/ 6426418 h 11515965"/>
              <a:gd name="connsiteX392" fmla="*/ 6729293 w 9476410"/>
              <a:gd name="connsiteY392" fmla="*/ 6615559 h 11515965"/>
              <a:gd name="connsiteX393" fmla="*/ 6780777 w 9476410"/>
              <a:gd name="connsiteY393" fmla="*/ 6627084 h 11515965"/>
              <a:gd name="connsiteX394" fmla="*/ 6785823 w 9476410"/>
              <a:gd name="connsiteY394" fmla="*/ 6620131 h 11515965"/>
              <a:gd name="connsiteX395" fmla="*/ 7155571 w 9476410"/>
              <a:gd name="connsiteY395" fmla="*/ 6431847 h 11515965"/>
              <a:gd name="connsiteX396" fmla="*/ 6838904 w 9476410"/>
              <a:gd name="connsiteY396" fmla="*/ 6805919 h 11515965"/>
              <a:gd name="connsiteX397" fmla="*/ 6706215 w 9476410"/>
              <a:gd name="connsiteY397" fmla="*/ 7149773 h 11515965"/>
              <a:gd name="connsiteX398" fmla="*/ 6693248 w 9476410"/>
              <a:gd name="connsiteY398" fmla="*/ 7225252 h 11515965"/>
              <a:gd name="connsiteX399" fmla="*/ 6744432 w 9476410"/>
              <a:gd name="connsiteY399" fmla="*/ 7241150 h 11515965"/>
              <a:gd name="connsiteX400" fmla="*/ 6959264 w 9476410"/>
              <a:gd name="connsiteY400" fmla="*/ 7425913 h 11515965"/>
              <a:gd name="connsiteX401" fmla="*/ 6477464 w 9476410"/>
              <a:gd name="connsiteY401" fmla="*/ 7337175 h 11515965"/>
              <a:gd name="connsiteX402" fmla="*/ 6233205 w 9476410"/>
              <a:gd name="connsiteY402" fmla="*/ 7365340 h 11515965"/>
              <a:gd name="connsiteX403" fmla="*/ 6041678 w 9476410"/>
              <a:gd name="connsiteY403" fmla="*/ 7422489 h 11515965"/>
              <a:gd name="connsiteX404" fmla="*/ 6052913 w 9476410"/>
              <a:gd name="connsiteY404" fmla="*/ 7472685 h 11515965"/>
              <a:gd name="connsiteX405" fmla="*/ 6000619 w 9476410"/>
              <a:gd name="connsiteY405" fmla="*/ 7753310 h 11515965"/>
              <a:gd name="connsiteX406" fmla="*/ 5835878 w 9476410"/>
              <a:gd name="connsiteY406" fmla="*/ 7290827 h 11515965"/>
              <a:gd name="connsiteX407" fmla="*/ 5631496 w 9476410"/>
              <a:gd name="connsiteY407" fmla="*/ 7031215 h 11515965"/>
              <a:gd name="connsiteX408" fmla="*/ 5548829 w 9476410"/>
              <a:gd name="connsiteY408" fmla="*/ 6957092 h 11515965"/>
              <a:gd name="connsiteX409" fmla="*/ 5506476 w 9476410"/>
              <a:gd name="connsiteY409" fmla="*/ 6991116 h 11515965"/>
              <a:gd name="connsiteX410" fmla="*/ 5240070 w 9476410"/>
              <a:gd name="connsiteY410" fmla="*/ 7087075 h 11515965"/>
              <a:gd name="connsiteX411" fmla="*/ 5556155 w 9476410"/>
              <a:gd name="connsiteY411" fmla="*/ 6713552 h 11515965"/>
              <a:gd name="connsiteX412" fmla="*/ 5654772 w 9476410"/>
              <a:gd name="connsiteY412" fmla="*/ 6489511 h 11515965"/>
              <a:gd name="connsiteX413" fmla="*/ 5697990 w 9476410"/>
              <a:gd name="connsiteY413" fmla="*/ 6297548 h 11515965"/>
              <a:gd name="connsiteX414" fmla="*/ 5650941 w 9476410"/>
              <a:gd name="connsiteY414" fmla="*/ 6278859 h 11515965"/>
              <a:gd name="connsiteX415" fmla="*/ 5436555 w 9476410"/>
              <a:gd name="connsiteY415" fmla="*/ 6094504 h 11515965"/>
              <a:gd name="connsiteX416" fmla="*/ 5917566 w 9476410"/>
              <a:gd name="connsiteY416" fmla="*/ 6182800 h 11515965"/>
              <a:gd name="connsiteX417" fmla="*/ 6161472 w 9476410"/>
              <a:gd name="connsiteY417" fmla="*/ 6154517 h 11515965"/>
              <a:gd name="connsiteX418" fmla="*/ 6349173 w 9476410"/>
              <a:gd name="connsiteY418" fmla="*/ 6098396 h 11515965"/>
              <a:gd name="connsiteX419" fmla="*/ 6341822 w 9476410"/>
              <a:gd name="connsiteY419" fmla="*/ 6046667 h 11515965"/>
              <a:gd name="connsiteX420" fmla="*/ 6391616 w 9476410"/>
              <a:gd name="connsiteY420" fmla="*/ 5768664 h 11515965"/>
              <a:gd name="connsiteX421" fmla="*/ 6558859 w 9476410"/>
              <a:gd name="connsiteY421" fmla="*/ 6228525 h 11515965"/>
              <a:gd name="connsiteX422" fmla="*/ 6788702 w 9476410"/>
              <a:gd name="connsiteY422" fmla="*/ 6513115 h 11515965"/>
              <a:gd name="connsiteX423" fmla="*/ 6848973 w 9476410"/>
              <a:gd name="connsiteY423" fmla="*/ 6563898 h 11515965"/>
              <a:gd name="connsiteX424" fmla="*/ 6889019 w 9476410"/>
              <a:gd name="connsiteY424" fmla="*/ 6528238 h 11515965"/>
              <a:gd name="connsiteX425" fmla="*/ 7155571 w 9476410"/>
              <a:gd name="connsiteY425" fmla="*/ 6431847 h 11515965"/>
              <a:gd name="connsiteX426" fmla="*/ 5339808 w 9476410"/>
              <a:gd name="connsiteY426" fmla="*/ 201864 h 11515965"/>
              <a:gd name="connsiteX427" fmla="*/ 4225330 w 9476410"/>
              <a:gd name="connsiteY427" fmla="*/ 1824135 h 11515965"/>
              <a:gd name="connsiteX428" fmla="*/ 3805070 w 9476410"/>
              <a:gd name="connsiteY428" fmla="*/ 3487636 h 11515965"/>
              <a:gd name="connsiteX429" fmla="*/ 3801943 w 9476410"/>
              <a:gd name="connsiteY429" fmla="*/ 3543949 h 11515965"/>
              <a:gd name="connsiteX430" fmla="*/ 4015871 w 9476410"/>
              <a:gd name="connsiteY430" fmla="*/ 3605408 h 11515965"/>
              <a:gd name="connsiteX431" fmla="*/ 4954392 w 9476410"/>
              <a:gd name="connsiteY431" fmla="*/ 4252682 h 11515965"/>
              <a:gd name="connsiteX432" fmla="*/ 2989749 w 9476410"/>
              <a:gd name="connsiteY432" fmla="*/ 4090360 h 11515965"/>
              <a:gd name="connsiteX433" fmla="*/ 1554006 w 9476410"/>
              <a:gd name="connsiteY433" fmla="*/ 4459653 h 11515965"/>
              <a:gd name="connsiteX434" fmla="*/ 1517886 w 9476410"/>
              <a:gd name="connsiteY434" fmla="*/ 4477098 h 11515965"/>
              <a:gd name="connsiteX435" fmla="*/ 1355324 w 9476410"/>
              <a:gd name="connsiteY435" fmla="*/ 4280794 h 11515965"/>
              <a:gd name="connsiteX436" fmla="*/ 1390013 w 9476410"/>
              <a:gd name="connsiteY436" fmla="*/ 4235712 h 11515965"/>
              <a:gd name="connsiteX437" fmla="*/ 1878412 w 9476410"/>
              <a:gd name="connsiteY437" fmla="*/ 3829384 h 11515965"/>
              <a:gd name="connsiteX438" fmla="*/ 2914966 w 9476410"/>
              <a:gd name="connsiteY438" fmla="*/ 3478000 h 11515965"/>
              <a:gd name="connsiteX439" fmla="*/ 3151856 w 9476410"/>
              <a:gd name="connsiteY439" fmla="*/ 3467717 h 11515965"/>
              <a:gd name="connsiteX440" fmla="*/ 3071623 w 9476410"/>
              <a:gd name="connsiteY440" fmla="*/ 3376287 h 11515965"/>
              <a:gd name="connsiteX441" fmla="*/ 3242094 w 9476410"/>
              <a:gd name="connsiteY441" fmla="*/ 1816847 h 11515965"/>
              <a:gd name="connsiteX442" fmla="*/ 3356707 w 9476410"/>
              <a:gd name="connsiteY442" fmla="*/ 3286627 h 11515965"/>
              <a:gd name="connsiteX443" fmla="*/ 3438538 w 9476410"/>
              <a:gd name="connsiteY443" fmla="*/ 3480271 h 11515965"/>
              <a:gd name="connsiteX444" fmla="*/ 3473863 w 9476410"/>
              <a:gd name="connsiteY444" fmla="*/ 3482365 h 11515965"/>
              <a:gd name="connsiteX445" fmla="*/ 3653901 w 9476410"/>
              <a:gd name="connsiteY445" fmla="*/ 3512664 h 11515965"/>
              <a:gd name="connsiteX446" fmla="*/ 3635607 w 9476410"/>
              <a:gd name="connsiteY446" fmla="*/ 3479029 h 11515965"/>
              <a:gd name="connsiteX447" fmla="*/ 3444418 w 9476410"/>
              <a:gd name="connsiteY447" fmla="*/ 2654934 h 11515965"/>
              <a:gd name="connsiteX448" fmla="*/ 3672688 w 9476410"/>
              <a:gd name="connsiteY448" fmla="*/ 1568824 h 11515965"/>
              <a:gd name="connsiteX449" fmla="*/ 3765276 w 9476410"/>
              <a:gd name="connsiteY449" fmla="*/ 1375871 h 11515965"/>
              <a:gd name="connsiteX450" fmla="*/ 3655985 w 9476410"/>
              <a:gd name="connsiteY450" fmla="*/ 1397382 h 11515965"/>
              <a:gd name="connsiteX451" fmla="*/ 2436411 w 9476410"/>
              <a:gd name="connsiteY451" fmla="*/ 684830 h 11515965"/>
              <a:gd name="connsiteX452" fmla="*/ 2423644 w 9476410"/>
              <a:gd name="connsiteY452" fmla="*/ 637101 h 11515965"/>
              <a:gd name="connsiteX453" fmla="*/ 2527495 w 9476410"/>
              <a:gd name="connsiteY453" fmla="*/ 551100 h 11515965"/>
              <a:gd name="connsiteX454" fmla="*/ 2738507 w 9476410"/>
              <a:gd name="connsiteY454" fmla="*/ 688926 h 11515965"/>
              <a:gd name="connsiteX455" fmla="*/ 3854328 w 9476410"/>
              <a:gd name="connsiteY455" fmla="*/ 1125078 h 11515965"/>
              <a:gd name="connsiteX456" fmla="*/ 3913272 w 9476410"/>
              <a:gd name="connsiteY456" fmla="*/ 1130963 h 11515965"/>
              <a:gd name="connsiteX457" fmla="*/ 3937356 w 9476410"/>
              <a:gd name="connsiteY457" fmla="*/ 1093196 h 11515965"/>
              <a:gd name="connsiteX458" fmla="*/ 4051367 w 9476410"/>
              <a:gd name="connsiteY458" fmla="*/ 954410 h 11515965"/>
              <a:gd name="connsiteX459" fmla="*/ 4015835 w 9476410"/>
              <a:gd name="connsiteY459" fmla="*/ 952545 h 11515965"/>
              <a:gd name="connsiteX460" fmla="*/ 3208361 w 9476410"/>
              <a:gd name="connsiteY460" fmla="*/ 694856 h 11515965"/>
              <a:gd name="connsiteX461" fmla="*/ 2756812 w 9476410"/>
              <a:gd name="connsiteY461" fmla="*/ 378681 h 11515965"/>
              <a:gd name="connsiteX462" fmla="*/ 2747132 w 9476410"/>
              <a:gd name="connsiteY462" fmla="*/ 369216 h 11515965"/>
              <a:gd name="connsiteX463" fmla="*/ 3192983 w 9476410"/>
              <a:gd name="connsiteY463" fmla="*/ 0 h 11515965"/>
              <a:gd name="connsiteX464" fmla="*/ 3296226 w 9476410"/>
              <a:gd name="connsiteY464" fmla="*/ 112069 h 11515965"/>
              <a:gd name="connsiteX465" fmla="*/ 4114499 w 9476410"/>
              <a:gd name="connsiteY465" fmla="*/ 817240 h 11515965"/>
              <a:gd name="connsiteX466" fmla="*/ 4151807 w 9476410"/>
              <a:gd name="connsiteY466" fmla="*/ 842564 h 11515965"/>
              <a:gd name="connsiteX467" fmla="*/ 4313387 w 9476410"/>
              <a:gd name="connsiteY467" fmla="*/ 688618 h 11515965"/>
              <a:gd name="connsiteX468" fmla="*/ 5339808 w 9476410"/>
              <a:gd name="connsiteY468" fmla="*/ 201864 h 11515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</a:cxnLst>
            <a:rect l="l" t="t" r="r" b="b"/>
            <a:pathLst>
              <a:path w="9476410" h="11515965">
                <a:moveTo>
                  <a:pt x="3941063" y="6745743"/>
                </a:moveTo>
                <a:cubicBezTo>
                  <a:pt x="3837486" y="6807526"/>
                  <a:pt x="3741772" y="6863381"/>
                  <a:pt x="3654616" y="6927641"/>
                </a:cubicBezTo>
                <a:lnTo>
                  <a:pt x="3591308" y="6980886"/>
                </a:lnTo>
                <a:lnTo>
                  <a:pt x="3470786" y="6835348"/>
                </a:lnTo>
                <a:lnTo>
                  <a:pt x="3481804" y="6824266"/>
                </a:lnTo>
                <a:cubicBezTo>
                  <a:pt x="3606698" y="6720931"/>
                  <a:pt x="3775301" y="6684099"/>
                  <a:pt x="3941063" y="6745743"/>
                </a:cubicBezTo>
                <a:close/>
                <a:moveTo>
                  <a:pt x="671158" y="2759859"/>
                </a:moveTo>
                <a:cubicBezTo>
                  <a:pt x="787107" y="2905295"/>
                  <a:pt x="862760" y="3084909"/>
                  <a:pt x="881489" y="3289454"/>
                </a:cubicBezTo>
                <a:cubicBezTo>
                  <a:pt x="641007" y="3129957"/>
                  <a:pt x="422652" y="2985726"/>
                  <a:pt x="191608" y="2872477"/>
                </a:cubicBezTo>
                <a:lnTo>
                  <a:pt x="187585" y="2870676"/>
                </a:lnTo>
                <a:lnTo>
                  <a:pt x="0" y="2644155"/>
                </a:lnTo>
                <a:lnTo>
                  <a:pt x="239851" y="2445530"/>
                </a:lnTo>
                <a:lnTo>
                  <a:pt x="337496" y="2488021"/>
                </a:lnTo>
                <a:cubicBezTo>
                  <a:pt x="467693" y="2555335"/>
                  <a:pt x="581478" y="2647374"/>
                  <a:pt x="671158" y="2759859"/>
                </a:cubicBezTo>
                <a:close/>
                <a:moveTo>
                  <a:pt x="7573969" y="9886863"/>
                </a:moveTo>
                <a:cubicBezTo>
                  <a:pt x="7515635" y="9993397"/>
                  <a:pt x="7478723" y="10111079"/>
                  <a:pt x="7463640" y="10231462"/>
                </a:cubicBezTo>
                <a:cubicBezTo>
                  <a:pt x="7452327" y="10321750"/>
                  <a:pt x="7454692" y="10414096"/>
                  <a:pt x="7470264" y="10503480"/>
                </a:cubicBezTo>
                <a:lnTo>
                  <a:pt x="7482740" y="10558627"/>
                </a:lnTo>
                <a:lnTo>
                  <a:pt x="7522142" y="10555012"/>
                </a:lnTo>
                <a:cubicBezTo>
                  <a:pt x="7589819" y="10558222"/>
                  <a:pt x="7657667" y="10575842"/>
                  <a:pt x="7720866" y="10620352"/>
                </a:cubicBezTo>
                <a:cubicBezTo>
                  <a:pt x="7599538" y="10622223"/>
                  <a:pt x="7479521" y="10650418"/>
                  <a:pt x="7367171" y="10695921"/>
                </a:cubicBezTo>
                <a:cubicBezTo>
                  <a:pt x="7311764" y="10720403"/>
                  <a:pt x="7258655" y="10750078"/>
                  <a:pt x="7208522" y="10784129"/>
                </a:cubicBezTo>
                <a:lnTo>
                  <a:pt x="7094028" y="10877210"/>
                </a:lnTo>
                <a:lnTo>
                  <a:pt x="7115871" y="10908274"/>
                </a:lnTo>
                <a:cubicBezTo>
                  <a:pt x="7146870" y="10969023"/>
                  <a:pt x="7169020" y="11037826"/>
                  <a:pt x="7159471" y="11114457"/>
                </a:cubicBezTo>
                <a:cubicBezTo>
                  <a:pt x="7096675" y="11009862"/>
                  <a:pt x="7013688" y="10920412"/>
                  <a:pt x="6916465" y="10845540"/>
                </a:cubicBezTo>
                <a:cubicBezTo>
                  <a:pt x="6873125" y="10813009"/>
                  <a:pt x="6826850" y="10784364"/>
                  <a:pt x="6778262" y="10759847"/>
                </a:cubicBezTo>
                <a:lnTo>
                  <a:pt x="6692142" y="10725340"/>
                </a:lnTo>
                <a:lnTo>
                  <a:pt x="6647614" y="10671569"/>
                </a:lnTo>
                <a:lnTo>
                  <a:pt x="6720659" y="10664072"/>
                </a:lnTo>
                <a:cubicBezTo>
                  <a:pt x="6747615" y="10664810"/>
                  <a:pt x="6774107" y="10668596"/>
                  <a:pt x="6799253" y="10674013"/>
                </a:cubicBezTo>
                <a:cubicBezTo>
                  <a:pt x="6865479" y="10688138"/>
                  <a:pt x="6929375" y="10715704"/>
                  <a:pt x="6982494" y="10756318"/>
                </a:cubicBezTo>
                <a:lnTo>
                  <a:pt x="7017744" y="10788847"/>
                </a:lnTo>
                <a:lnTo>
                  <a:pt x="7017013" y="10762020"/>
                </a:lnTo>
                <a:cubicBezTo>
                  <a:pt x="7027990" y="10645519"/>
                  <a:pt x="7121124" y="10559969"/>
                  <a:pt x="7233179" y="10575315"/>
                </a:cubicBezTo>
                <a:cubicBezTo>
                  <a:pt x="7162152" y="10642520"/>
                  <a:pt x="7103551" y="10698392"/>
                  <a:pt x="7065991" y="10786196"/>
                </a:cubicBezTo>
                <a:lnTo>
                  <a:pt x="7054846" y="10823085"/>
                </a:lnTo>
                <a:lnTo>
                  <a:pt x="7058051" y="10826043"/>
                </a:lnTo>
                <a:lnTo>
                  <a:pt x="7080724" y="10858288"/>
                </a:lnTo>
                <a:lnTo>
                  <a:pt x="7100326" y="10797529"/>
                </a:lnTo>
                <a:cubicBezTo>
                  <a:pt x="7115870" y="10766603"/>
                  <a:pt x="7135423" y="10738302"/>
                  <a:pt x="7156994" y="10712215"/>
                </a:cubicBezTo>
                <a:cubicBezTo>
                  <a:pt x="7202631" y="10661006"/>
                  <a:pt x="7261330" y="10620584"/>
                  <a:pt x="7323663" y="10593041"/>
                </a:cubicBezTo>
                <a:lnTo>
                  <a:pt x="7368332" y="10579770"/>
                </a:lnTo>
                <a:lnTo>
                  <a:pt x="7345092" y="10567466"/>
                </a:lnTo>
                <a:cubicBezTo>
                  <a:pt x="7249032" y="10500376"/>
                  <a:pt x="7221705" y="10376425"/>
                  <a:pt x="7291387" y="10285136"/>
                </a:cubicBezTo>
                <a:cubicBezTo>
                  <a:pt x="7314838" y="10380183"/>
                  <a:pt x="7332809" y="10460212"/>
                  <a:pt x="7390463" y="10536639"/>
                </a:cubicBezTo>
                <a:lnTo>
                  <a:pt x="7417748" y="10565088"/>
                </a:lnTo>
                <a:lnTo>
                  <a:pt x="7420176" y="10564367"/>
                </a:lnTo>
                <a:lnTo>
                  <a:pt x="7456200" y="10561062"/>
                </a:lnTo>
                <a:lnTo>
                  <a:pt x="7448696" y="10554307"/>
                </a:lnTo>
                <a:cubicBezTo>
                  <a:pt x="7411841" y="10514782"/>
                  <a:pt x="7388230" y="10469082"/>
                  <a:pt x="7370985" y="10419389"/>
                </a:cubicBezTo>
                <a:cubicBezTo>
                  <a:pt x="7350480" y="10354093"/>
                  <a:pt x="7345305" y="10286118"/>
                  <a:pt x="7351046" y="10219493"/>
                </a:cubicBezTo>
                <a:lnTo>
                  <a:pt x="7362155" y="10173138"/>
                </a:lnTo>
                <a:lnTo>
                  <a:pt x="7339340" y="10187271"/>
                </a:lnTo>
                <a:cubicBezTo>
                  <a:pt x="7233832" y="10235844"/>
                  <a:pt x="7112739" y="10197611"/>
                  <a:pt x="7067536" y="10092255"/>
                </a:cubicBezTo>
                <a:cubicBezTo>
                  <a:pt x="7161997" y="10120194"/>
                  <a:pt x="7240498" y="10143572"/>
                  <a:pt x="7335104" y="10132582"/>
                </a:cubicBezTo>
                <a:lnTo>
                  <a:pt x="7373477" y="10125900"/>
                </a:lnTo>
                <a:lnTo>
                  <a:pt x="7374954" y="10119732"/>
                </a:lnTo>
                <a:lnTo>
                  <a:pt x="7392779" y="10082893"/>
                </a:lnTo>
                <a:lnTo>
                  <a:pt x="7328738" y="10097926"/>
                </a:lnTo>
                <a:cubicBezTo>
                  <a:pt x="7293929" y="10099890"/>
                  <a:pt x="7259369" y="10096572"/>
                  <a:pt x="7225774" y="10090757"/>
                </a:cubicBezTo>
                <a:cubicBezTo>
                  <a:pt x="7159549" y="10076633"/>
                  <a:pt x="7096617" y="10046570"/>
                  <a:pt x="7041003" y="10004992"/>
                </a:cubicBezTo>
                <a:lnTo>
                  <a:pt x="7008955" y="9976010"/>
                </a:lnTo>
                <a:lnTo>
                  <a:pt x="7009655" y="10000885"/>
                </a:lnTo>
                <a:cubicBezTo>
                  <a:pt x="6998667" y="10117372"/>
                  <a:pt x="6904750" y="10203013"/>
                  <a:pt x="6789755" y="10188646"/>
                </a:cubicBezTo>
                <a:cubicBezTo>
                  <a:pt x="6860879" y="10121592"/>
                  <a:pt x="6921508" y="10064985"/>
                  <a:pt x="6960011" y="9976861"/>
                </a:cubicBezTo>
                <a:lnTo>
                  <a:pt x="6970835" y="9941537"/>
                </a:lnTo>
                <a:lnTo>
                  <a:pt x="6966905" y="9937983"/>
                </a:lnTo>
                <a:lnTo>
                  <a:pt x="6944704" y="9905147"/>
                </a:lnTo>
                <a:lnTo>
                  <a:pt x="6924406" y="9967134"/>
                </a:lnTo>
                <a:cubicBezTo>
                  <a:pt x="6908447" y="9998227"/>
                  <a:pt x="6888296" y="10026268"/>
                  <a:pt x="6865510" y="10051856"/>
                </a:cubicBezTo>
                <a:cubicBezTo>
                  <a:pt x="6819940" y="10103033"/>
                  <a:pt x="6764796" y="10141910"/>
                  <a:pt x="6702573" y="10169452"/>
                </a:cubicBezTo>
                <a:lnTo>
                  <a:pt x="6661765" y="10182300"/>
                </a:lnTo>
                <a:lnTo>
                  <a:pt x="6693840" y="10203245"/>
                </a:lnTo>
                <a:cubicBezTo>
                  <a:pt x="6705125" y="10212204"/>
                  <a:pt x="6715318" y="10221993"/>
                  <a:pt x="6724364" y="10232438"/>
                </a:cubicBezTo>
                <a:cubicBezTo>
                  <a:pt x="6784667" y="10302069"/>
                  <a:pt x="6793966" y="10400824"/>
                  <a:pt x="6735898" y="10476899"/>
                </a:cubicBezTo>
                <a:cubicBezTo>
                  <a:pt x="6712446" y="10381852"/>
                  <a:pt x="6694476" y="10301823"/>
                  <a:pt x="6636822" y="10225396"/>
                </a:cubicBezTo>
                <a:lnTo>
                  <a:pt x="6610861" y="10198328"/>
                </a:lnTo>
                <a:lnTo>
                  <a:pt x="6605515" y="10200011"/>
                </a:lnTo>
                <a:lnTo>
                  <a:pt x="6570389" y="10202625"/>
                </a:lnTo>
                <a:lnTo>
                  <a:pt x="6577087" y="10208719"/>
                </a:lnTo>
                <a:cubicBezTo>
                  <a:pt x="6613799" y="10248819"/>
                  <a:pt x="6637125" y="10295422"/>
                  <a:pt x="6655163" y="10343204"/>
                </a:cubicBezTo>
                <a:cubicBezTo>
                  <a:pt x="6675759" y="10408441"/>
                  <a:pt x="6681011" y="10476339"/>
                  <a:pt x="6671881" y="10544405"/>
                </a:cubicBezTo>
                <a:lnTo>
                  <a:pt x="6664918" y="10588165"/>
                </a:lnTo>
                <a:lnTo>
                  <a:pt x="6672092" y="10582046"/>
                </a:lnTo>
                <a:cubicBezTo>
                  <a:pt x="6764017" y="10532210"/>
                  <a:pt x="6868873" y="10550144"/>
                  <a:pt x="6927480" y="10623505"/>
                </a:cubicBezTo>
                <a:cubicBezTo>
                  <a:pt x="6938644" y="10637478"/>
                  <a:pt x="6948128" y="10653462"/>
                  <a:pt x="6955527" y="10671372"/>
                </a:cubicBezTo>
                <a:cubicBezTo>
                  <a:pt x="6863649" y="10642307"/>
                  <a:pt x="6784386" y="10618119"/>
                  <a:pt x="6688786" y="10629944"/>
                </a:cubicBezTo>
                <a:lnTo>
                  <a:pt x="6652158" y="10636675"/>
                </a:lnTo>
                <a:lnTo>
                  <a:pt x="6642188" y="10665016"/>
                </a:lnTo>
                <a:lnTo>
                  <a:pt x="6556005" y="10560945"/>
                </a:lnTo>
                <a:lnTo>
                  <a:pt x="6562604" y="10530803"/>
                </a:lnTo>
                <a:cubicBezTo>
                  <a:pt x="6570091" y="10470693"/>
                  <a:pt x="6571250" y="10410285"/>
                  <a:pt x="6566584" y="10350131"/>
                </a:cubicBezTo>
                <a:lnTo>
                  <a:pt x="6541456" y="10204777"/>
                </a:lnTo>
                <a:lnTo>
                  <a:pt x="6504468" y="10207530"/>
                </a:lnTo>
                <a:cubicBezTo>
                  <a:pt x="6436927" y="10204353"/>
                  <a:pt x="6368255" y="10189273"/>
                  <a:pt x="6306164" y="10142342"/>
                </a:cubicBezTo>
                <a:cubicBezTo>
                  <a:pt x="6427254" y="10140421"/>
                  <a:pt x="6546083" y="10114695"/>
                  <a:pt x="6659196" y="10066696"/>
                </a:cubicBezTo>
                <a:cubicBezTo>
                  <a:pt x="6714505" y="10042213"/>
                  <a:pt x="6767522" y="10012546"/>
                  <a:pt x="6817571" y="9978507"/>
                </a:cubicBezTo>
                <a:lnTo>
                  <a:pt x="6931569" y="9885723"/>
                </a:lnTo>
                <a:lnTo>
                  <a:pt x="6910120" y="9853999"/>
                </a:lnTo>
                <a:cubicBezTo>
                  <a:pt x="6876626" y="9792287"/>
                  <a:pt x="6856971" y="9724447"/>
                  <a:pt x="6865555" y="9650313"/>
                </a:cubicBezTo>
                <a:cubicBezTo>
                  <a:pt x="6929316" y="9752412"/>
                  <a:pt x="7011339" y="9844358"/>
                  <a:pt x="7109527" y="9916735"/>
                </a:cubicBezTo>
                <a:cubicBezTo>
                  <a:pt x="7181298" y="9970296"/>
                  <a:pt x="7261620" y="10014252"/>
                  <a:pt x="7346689" y="10045924"/>
                </a:cubicBezTo>
                <a:lnTo>
                  <a:pt x="7402143" y="10063538"/>
                </a:lnTo>
                <a:lnTo>
                  <a:pt x="7419384" y="10027904"/>
                </a:lnTo>
                <a:cubicBezTo>
                  <a:pt x="7455938" y="9970322"/>
                  <a:pt x="7503963" y="9920041"/>
                  <a:pt x="7573969" y="9886863"/>
                </a:cubicBezTo>
                <a:close/>
                <a:moveTo>
                  <a:pt x="6607271" y="8483694"/>
                </a:moveTo>
                <a:cubicBezTo>
                  <a:pt x="6438444" y="8619437"/>
                  <a:pt x="6297309" y="8788170"/>
                  <a:pt x="6190301" y="8976250"/>
                </a:cubicBezTo>
                <a:cubicBezTo>
                  <a:pt x="6110045" y="9117310"/>
                  <a:pt x="6050922" y="9271098"/>
                  <a:pt x="6015584" y="9429017"/>
                </a:cubicBezTo>
                <a:lnTo>
                  <a:pt x="5999119" y="9524853"/>
                </a:lnTo>
                <a:lnTo>
                  <a:pt x="6065906" y="9549337"/>
                </a:lnTo>
                <a:cubicBezTo>
                  <a:pt x="6175236" y="9600810"/>
                  <a:pt x="6275017" y="9676148"/>
                  <a:pt x="6348784" y="9792623"/>
                </a:cubicBezTo>
                <a:cubicBezTo>
                  <a:pt x="6197879" y="9732836"/>
                  <a:pt x="6038083" y="9697954"/>
                  <a:pt x="5876412" y="9683536"/>
                </a:cubicBezTo>
                <a:lnTo>
                  <a:pt x="5827470" y="9681193"/>
                </a:lnTo>
                <a:lnTo>
                  <a:pt x="5663082" y="9482684"/>
                </a:lnTo>
                <a:lnTo>
                  <a:pt x="5712891" y="9476556"/>
                </a:lnTo>
                <a:lnTo>
                  <a:pt x="5795554" y="9485169"/>
                </a:lnTo>
                <a:lnTo>
                  <a:pt x="5765655" y="9449035"/>
                </a:lnTo>
                <a:cubicBezTo>
                  <a:pt x="5653146" y="9272925"/>
                  <a:pt x="5692703" y="9050026"/>
                  <a:pt x="5869826" y="8947147"/>
                </a:cubicBezTo>
                <a:cubicBezTo>
                  <a:pt x="5843609" y="9119773"/>
                  <a:pt x="5818607" y="9263914"/>
                  <a:pt x="5861456" y="9429199"/>
                </a:cubicBezTo>
                <a:lnTo>
                  <a:pt x="5882500" y="9494229"/>
                </a:lnTo>
                <a:lnTo>
                  <a:pt x="5891497" y="9495167"/>
                </a:lnTo>
                <a:lnTo>
                  <a:pt x="5951287" y="9510476"/>
                </a:lnTo>
                <a:lnTo>
                  <a:pt x="5945358" y="9498052"/>
                </a:lnTo>
                <a:cubicBezTo>
                  <a:pt x="5911600" y="9407771"/>
                  <a:pt x="5903877" y="9316350"/>
                  <a:pt x="5909373" y="9222695"/>
                </a:cubicBezTo>
                <a:cubicBezTo>
                  <a:pt x="5920143" y="9101105"/>
                  <a:pt x="5958005" y="8985560"/>
                  <a:pt x="6012931" y="8879690"/>
                </a:cubicBezTo>
                <a:lnTo>
                  <a:pt x="6062872" y="8810885"/>
                </a:lnTo>
                <a:lnTo>
                  <a:pt x="6015631" y="8818604"/>
                </a:lnTo>
                <a:cubicBezTo>
                  <a:pt x="5808622" y="8826643"/>
                  <a:pt x="5635170" y="8681002"/>
                  <a:pt x="5632580" y="8476545"/>
                </a:cubicBezTo>
                <a:cubicBezTo>
                  <a:pt x="5769171" y="8587047"/>
                  <a:pt x="5882576" y="8679142"/>
                  <a:pt x="6045972" y="8725595"/>
                </a:cubicBezTo>
                <a:lnTo>
                  <a:pt x="6113764" y="8740770"/>
                </a:lnTo>
                <a:lnTo>
                  <a:pt x="6120408" y="8731615"/>
                </a:lnTo>
                <a:lnTo>
                  <a:pt x="6168057" y="8689185"/>
                </a:lnTo>
                <a:lnTo>
                  <a:pt x="6150287" y="8687888"/>
                </a:lnTo>
                <a:cubicBezTo>
                  <a:pt x="6055940" y="8671814"/>
                  <a:pt x="5971444" y="8630825"/>
                  <a:pt x="5894355" y="8582064"/>
                </a:cubicBezTo>
                <a:cubicBezTo>
                  <a:pt x="5794865" y="8513595"/>
                  <a:pt x="5711678" y="8421109"/>
                  <a:pt x="5648408" y="8314644"/>
                </a:cubicBezTo>
                <a:lnTo>
                  <a:pt x="5613202" y="8250711"/>
                </a:lnTo>
                <a:lnTo>
                  <a:pt x="5599554" y="8286483"/>
                </a:lnTo>
                <a:cubicBezTo>
                  <a:pt x="5501953" y="8470938"/>
                  <a:pt x="5288749" y="8547970"/>
                  <a:pt x="5109057" y="8445817"/>
                </a:cubicBezTo>
                <a:cubicBezTo>
                  <a:pt x="5272020" y="8383861"/>
                  <a:pt x="5410558" y="8331956"/>
                  <a:pt x="5534144" y="8213016"/>
                </a:cubicBezTo>
                <a:lnTo>
                  <a:pt x="5577218" y="8166516"/>
                </a:lnTo>
                <a:lnTo>
                  <a:pt x="5572034" y="8153655"/>
                </a:lnTo>
                <a:lnTo>
                  <a:pt x="5556587" y="8096288"/>
                </a:lnTo>
                <a:lnTo>
                  <a:pt x="5549494" y="8105990"/>
                </a:lnTo>
                <a:cubicBezTo>
                  <a:pt x="5486265" y="8179121"/>
                  <a:pt x="5409754" y="8232179"/>
                  <a:pt x="5327240" y="8272104"/>
                </a:cubicBezTo>
                <a:cubicBezTo>
                  <a:pt x="5217222" y="8325337"/>
                  <a:pt x="5099822" y="8351770"/>
                  <a:pt x="4978492" y="8354692"/>
                </a:cubicBezTo>
                <a:lnTo>
                  <a:pt x="4904447" y="8352356"/>
                </a:lnTo>
                <a:lnTo>
                  <a:pt x="4920539" y="8371229"/>
                </a:lnTo>
                <a:cubicBezTo>
                  <a:pt x="4981203" y="8460086"/>
                  <a:pt x="5002171" y="8562039"/>
                  <a:pt x="4985371" y="8654905"/>
                </a:cubicBezTo>
                <a:lnTo>
                  <a:pt x="4983349" y="8661863"/>
                </a:lnTo>
                <a:lnTo>
                  <a:pt x="4848375" y="8498874"/>
                </a:lnTo>
                <a:lnTo>
                  <a:pt x="4831969" y="8402010"/>
                </a:lnTo>
                <a:lnTo>
                  <a:pt x="4812197" y="8340912"/>
                </a:lnTo>
                <a:lnTo>
                  <a:pt x="4797701" y="8338813"/>
                </a:lnTo>
                <a:lnTo>
                  <a:pt x="4740120" y="8323575"/>
                </a:lnTo>
                <a:lnTo>
                  <a:pt x="4744916" y="8333763"/>
                </a:lnTo>
                <a:lnTo>
                  <a:pt x="4763200" y="8396019"/>
                </a:lnTo>
                <a:lnTo>
                  <a:pt x="4690748" y="8308530"/>
                </a:lnTo>
                <a:lnTo>
                  <a:pt x="4690846" y="8307981"/>
                </a:lnTo>
                <a:lnTo>
                  <a:pt x="4690023" y="8307654"/>
                </a:lnTo>
                <a:lnTo>
                  <a:pt x="4514431" y="8095616"/>
                </a:lnTo>
                <a:lnTo>
                  <a:pt x="4653591" y="8128146"/>
                </a:lnTo>
                <a:cubicBezTo>
                  <a:pt x="4759433" y="8147517"/>
                  <a:pt x="4867562" y="8156716"/>
                  <a:pt x="4977137" y="8155763"/>
                </a:cubicBezTo>
                <a:cubicBezTo>
                  <a:pt x="5084986" y="8153165"/>
                  <a:pt x="5192595" y="8140457"/>
                  <a:pt x="5298299" y="8118521"/>
                </a:cubicBezTo>
                <a:lnTo>
                  <a:pt x="5545453" y="8044622"/>
                </a:lnTo>
                <a:lnTo>
                  <a:pt x="5535774" y="7976511"/>
                </a:lnTo>
                <a:cubicBezTo>
                  <a:pt x="5522697" y="7851960"/>
                  <a:pt x="5536601" y="7726758"/>
                  <a:pt x="5601338" y="7610453"/>
                </a:cubicBezTo>
                <a:cubicBezTo>
                  <a:pt x="5636732" y="7822209"/>
                  <a:pt x="5709146" y="8029697"/>
                  <a:pt x="5821555" y="8215971"/>
                </a:cubicBezTo>
                <a:cubicBezTo>
                  <a:pt x="5903271" y="8353208"/>
                  <a:pt x="6005633" y="8480456"/>
                  <a:pt x="6124200" y="8590702"/>
                </a:cubicBezTo>
                <a:lnTo>
                  <a:pt x="6203560" y="8657570"/>
                </a:lnTo>
                <a:lnTo>
                  <a:pt x="6256289" y="8610616"/>
                </a:lnTo>
                <a:cubicBezTo>
                  <a:pt x="6355820" y="8540673"/>
                  <a:pt x="6469270" y="8490594"/>
                  <a:pt x="6607271" y="8483694"/>
                </a:cubicBezTo>
                <a:close/>
                <a:moveTo>
                  <a:pt x="2493258" y="3241978"/>
                </a:moveTo>
                <a:cubicBezTo>
                  <a:pt x="2017561" y="3483211"/>
                  <a:pt x="1614836" y="3676902"/>
                  <a:pt x="1279984" y="4076809"/>
                </a:cubicBezTo>
                <a:lnTo>
                  <a:pt x="1235787" y="4136446"/>
                </a:lnTo>
                <a:lnTo>
                  <a:pt x="1048507" y="3910294"/>
                </a:lnTo>
                <a:lnTo>
                  <a:pt x="1060624" y="3873852"/>
                </a:lnTo>
                <a:cubicBezTo>
                  <a:pt x="1298740" y="3281552"/>
                  <a:pt x="1923100" y="2984246"/>
                  <a:pt x="2493258" y="3241978"/>
                </a:cubicBezTo>
                <a:close/>
                <a:moveTo>
                  <a:pt x="9181445" y="10773701"/>
                </a:moveTo>
                <a:cubicBezTo>
                  <a:pt x="9167542" y="10802913"/>
                  <a:pt x="9154261" y="10830881"/>
                  <a:pt x="9142089" y="10858373"/>
                </a:cubicBezTo>
                <a:lnTo>
                  <a:pt x="9115298" y="10925414"/>
                </a:lnTo>
                <a:lnTo>
                  <a:pt x="8993271" y="11026466"/>
                </a:lnTo>
                <a:lnTo>
                  <a:pt x="8993251" y="10997165"/>
                </a:lnTo>
                <a:cubicBezTo>
                  <a:pt x="9003197" y="10890466"/>
                  <a:pt x="9072212" y="10799594"/>
                  <a:pt x="9181445" y="10773701"/>
                </a:cubicBezTo>
                <a:close/>
                <a:moveTo>
                  <a:pt x="9445715" y="10651791"/>
                </a:moveTo>
                <a:lnTo>
                  <a:pt x="9253736" y="10810771"/>
                </a:lnTo>
                <a:lnTo>
                  <a:pt x="9301602" y="10752407"/>
                </a:lnTo>
                <a:lnTo>
                  <a:pt x="9350408" y="10714712"/>
                </a:lnTo>
                <a:lnTo>
                  <a:pt x="9315850" y="10710613"/>
                </a:lnTo>
                <a:cubicBezTo>
                  <a:pt x="9165258" y="10673630"/>
                  <a:pt x="9072383" y="10533663"/>
                  <a:pt x="9114840" y="10387725"/>
                </a:cubicBezTo>
                <a:cubicBezTo>
                  <a:pt x="9189141" y="10493862"/>
                  <a:pt x="9249510" y="10584078"/>
                  <a:pt x="9357147" y="10650911"/>
                </a:cubicBezTo>
                <a:lnTo>
                  <a:pt x="9401743" y="10675063"/>
                </a:lnTo>
                <a:lnTo>
                  <a:pt x="9407057" y="10670959"/>
                </a:lnTo>
                <a:close/>
                <a:moveTo>
                  <a:pt x="5131229" y="5285990"/>
                </a:moveTo>
                <a:cubicBezTo>
                  <a:pt x="4936418" y="5509625"/>
                  <a:pt x="4778657" y="5769004"/>
                  <a:pt x="4678632" y="6052422"/>
                </a:cubicBezTo>
                <a:cubicBezTo>
                  <a:pt x="4603972" y="6260056"/>
                  <a:pt x="4558091" y="6480943"/>
                  <a:pt x="4544572" y="6704193"/>
                </a:cubicBezTo>
                <a:lnTo>
                  <a:pt x="4542971" y="6841920"/>
                </a:lnTo>
                <a:lnTo>
                  <a:pt x="4639278" y="6862572"/>
                </a:lnTo>
                <a:cubicBezTo>
                  <a:pt x="4801254" y="6907345"/>
                  <a:pt x="4954262" y="6984403"/>
                  <a:pt x="5082759" y="7125552"/>
                </a:cubicBezTo>
                <a:cubicBezTo>
                  <a:pt x="4789765" y="7064620"/>
                  <a:pt x="4485889" y="7062186"/>
                  <a:pt x="4191333" y="7113139"/>
                </a:cubicBezTo>
                <a:cubicBezTo>
                  <a:pt x="4080874" y="7132246"/>
                  <a:pt x="3971659" y="7159782"/>
                  <a:pt x="3865124" y="7195157"/>
                </a:cubicBezTo>
                <a:lnTo>
                  <a:pt x="3793449" y="7224984"/>
                </a:lnTo>
                <a:lnTo>
                  <a:pt x="3652674" y="7054989"/>
                </a:lnTo>
                <a:lnTo>
                  <a:pt x="3681850" y="7029805"/>
                </a:lnTo>
                <a:cubicBezTo>
                  <a:pt x="3821005" y="6934561"/>
                  <a:pt x="3977491" y="6873522"/>
                  <a:pt x="4138637" y="6839177"/>
                </a:cubicBezTo>
                <a:lnTo>
                  <a:pt x="4245193" y="6827200"/>
                </a:lnTo>
                <a:lnTo>
                  <a:pt x="4206167" y="6788437"/>
                </a:lnTo>
                <a:cubicBezTo>
                  <a:pt x="4015877" y="6574678"/>
                  <a:pt x="4018974" y="6261813"/>
                  <a:pt x="4234795" y="6079575"/>
                </a:cubicBezTo>
                <a:cubicBezTo>
                  <a:pt x="4236823" y="6322276"/>
                  <a:pt x="4238134" y="6524087"/>
                  <a:pt x="4332012" y="6739157"/>
                </a:cubicBezTo>
                <a:lnTo>
                  <a:pt x="4374928" y="6823991"/>
                </a:lnTo>
                <a:lnTo>
                  <a:pt x="4390932" y="6823843"/>
                </a:lnTo>
                <a:lnTo>
                  <a:pt x="4474215" y="6832047"/>
                </a:lnTo>
                <a:lnTo>
                  <a:pt x="4463802" y="6817329"/>
                </a:lnTo>
                <a:cubicBezTo>
                  <a:pt x="4398130" y="6702581"/>
                  <a:pt x="4367681" y="6576468"/>
                  <a:pt x="4352026" y="6451436"/>
                </a:cubicBezTo>
                <a:cubicBezTo>
                  <a:pt x="4337728" y="6285207"/>
                  <a:pt x="4363361" y="6115288"/>
                  <a:pt x="4421389" y="5954342"/>
                </a:cubicBezTo>
                <a:lnTo>
                  <a:pt x="4458682" y="5860668"/>
                </a:lnTo>
                <a:lnTo>
                  <a:pt x="4408545" y="5877510"/>
                </a:lnTo>
                <a:cubicBezTo>
                  <a:pt x="4126112" y="5935315"/>
                  <a:pt x="3856791" y="5775509"/>
                  <a:pt x="3808023" y="5494164"/>
                </a:cubicBezTo>
                <a:cubicBezTo>
                  <a:pt x="4017161" y="5613610"/>
                  <a:pt x="4194136" y="5715825"/>
                  <a:pt x="4429493" y="5743248"/>
                </a:cubicBezTo>
                <a:lnTo>
                  <a:pt x="4516905" y="5748375"/>
                </a:lnTo>
                <a:lnTo>
                  <a:pt x="4526074" y="5731557"/>
                </a:lnTo>
                <a:lnTo>
                  <a:pt x="4573705" y="5664723"/>
                </a:lnTo>
                <a:lnTo>
                  <a:pt x="4557132" y="5665675"/>
                </a:lnTo>
                <a:cubicBezTo>
                  <a:pt x="4423620" y="5662421"/>
                  <a:pt x="4299861" y="5627383"/>
                  <a:pt x="4184842" y="5574412"/>
                </a:cubicBezTo>
                <a:cubicBezTo>
                  <a:pt x="4031484" y="5503784"/>
                  <a:pt x="3900237" y="5401761"/>
                  <a:pt x="3790616" y="5274904"/>
                </a:cubicBezTo>
                <a:lnTo>
                  <a:pt x="3726939" y="5192349"/>
                </a:lnTo>
                <a:lnTo>
                  <a:pt x="3716776" y="5244920"/>
                </a:lnTo>
                <a:cubicBezTo>
                  <a:pt x="3627682" y="5519524"/>
                  <a:pt x="3355189" y="5672988"/>
                  <a:pt x="3089969" y="5574359"/>
                </a:cubicBezTo>
                <a:cubicBezTo>
                  <a:pt x="3297124" y="5450794"/>
                  <a:pt x="3472825" y="5350935"/>
                  <a:pt x="3611521" y="5160141"/>
                </a:cubicBezTo>
                <a:lnTo>
                  <a:pt x="3659340" y="5085418"/>
                </a:lnTo>
                <a:lnTo>
                  <a:pt x="3648861" y="5068123"/>
                </a:lnTo>
                <a:lnTo>
                  <a:pt x="3614566" y="4993320"/>
                </a:lnTo>
                <a:lnTo>
                  <a:pt x="3607913" y="5007385"/>
                </a:lnTo>
                <a:cubicBezTo>
                  <a:pt x="3539780" y="5122713"/>
                  <a:pt x="3446704" y="5211172"/>
                  <a:pt x="3347058" y="5288024"/>
                </a:cubicBezTo>
                <a:cubicBezTo>
                  <a:pt x="3208109" y="5383446"/>
                  <a:pt x="3051858" y="5444605"/>
                  <a:pt x="2884880" y="5471997"/>
                </a:cubicBezTo>
                <a:lnTo>
                  <a:pt x="2781395" y="5486389"/>
                </a:lnTo>
                <a:lnTo>
                  <a:pt x="2821506" y="5525895"/>
                </a:lnTo>
                <a:cubicBezTo>
                  <a:pt x="2966487" y="5687073"/>
                  <a:pt x="3000483" y="5901230"/>
                  <a:pt x="2915032" y="6074944"/>
                </a:cubicBezTo>
                <a:lnTo>
                  <a:pt x="2882945" y="6125493"/>
                </a:lnTo>
                <a:lnTo>
                  <a:pt x="2786386" y="6008892"/>
                </a:lnTo>
                <a:lnTo>
                  <a:pt x="2779579" y="5894781"/>
                </a:lnTo>
                <a:cubicBezTo>
                  <a:pt x="2767832" y="5786956"/>
                  <a:pt x="2743706" y="5681709"/>
                  <a:pt x="2695429" y="5573306"/>
                </a:cubicBezTo>
                <a:lnTo>
                  <a:pt x="2653248" y="5491818"/>
                </a:lnTo>
                <a:lnTo>
                  <a:pt x="2560361" y="5487876"/>
                </a:lnTo>
                <a:lnTo>
                  <a:pt x="2560079" y="5487837"/>
                </a:lnTo>
                <a:lnTo>
                  <a:pt x="2605478" y="5578075"/>
                </a:lnTo>
                <a:cubicBezTo>
                  <a:pt x="2644213" y="5671343"/>
                  <a:pt x="2662991" y="5770586"/>
                  <a:pt x="2670939" y="5865315"/>
                </a:cubicBezTo>
                <a:lnTo>
                  <a:pt x="2671092" y="5869667"/>
                </a:lnTo>
                <a:lnTo>
                  <a:pt x="2480913" y="5640014"/>
                </a:lnTo>
                <a:lnTo>
                  <a:pt x="2487879" y="5475884"/>
                </a:lnTo>
                <a:lnTo>
                  <a:pt x="2391137" y="5455723"/>
                </a:lnTo>
                <a:lnTo>
                  <a:pt x="2304226" y="5426654"/>
                </a:lnTo>
                <a:lnTo>
                  <a:pt x="2134546" y="5221754"/>
                </a:lnTo>
                <a:lnTo>
                  <a:pt x="2169535" y="5227262"/>
                </a:lnTo>
                <a:cubicBezTo>
                  <a:pt x="2392048" y="5251247"/>
                  <a:pt x="2617845" y="5243000"/>
                  <a:pt x="2838420" y="5204685"/>
                </a:cubicBezTo>
                <a:cubicBezTo>
                  <a:pt x="3058983" y="5166355"/>
                  <a:pt x="3270902" y="5093999"/>
                  <a:pt x="3471005" y="4992951"/>
                </a:cubicBezTo>
                <a:lnTo>
                  <a:pt x="3587952" y="4927077"/>
                </a:lnTo>
                <a:lnTo>
                  <a:pt x="3558529" y="4835375"/>
                </a:lnTo>
                <a:cubicBezTo>
                  <a:pt x="3517489" y="4673914"/>
                  <a:pt x="3503678" y="4501228"/>
                  <a:pt x="3569674" y="4321176"/>
                </a:cubicBezTo>
                <a:cubicBezTo>
                  <a:pt x="3661212" y="4605180"/>
                  <a:pt x="3807224" y="4866747"/>
                  <a:pt x="4001624" y="5098836"/>
                </a:cubicBezTo>
                <a:cubicBezTo>
                  <a:pt x="4147783" y="5267977"/>
                  <a:pt x="4317737" y="5416574"/>
                  <a:pt x="4503371" y="5541247"/>
                </a:cubicBezTo>
                <a:lnTo>
                  <a:pt x="4616396" y="5610388"/>
                </a:lnTo>
                <a:lnTo>
                  <a:pt x="4683204" y="5537380"/>
                </a:lnTo>
                <a:cubicBezTo>
                  <a:pt x="4804582" y="5414099"/>
                  <a:pt x="4950341" y="5319028"/>
                  <a:pt x="5131229" y="5285990"/>
                </a:cubicBezTo>
                <a:close/>
                <a:moveTo>
                  <a:pt x="9273628" y="9761253"/>
                </a:moveTo>
                <a:cubicBezTo>
                  <a:pt x="9252452" y="9920595"/>
                  <a:pt x="9263040" y="10083477"/>
                  <a:pt x="9301862" y="10239277"/>
                </a:cubicBezTo>
                <a:cubicBezTo>
                  <a:pt x="9330978" y="10356128"/>
                  <a:pt x="9377962" y="10468995"/>
                  <a:pt x="9439834" y="10571903"/>
                </a:cubicBezTo>
                <a:lnTo>
                  <a:pt x="9476410" y="10626371"/>
                </a:lnTo>
                <a:lnTo>
                  <a:pt x="9448783" y="10649249"/>
                </a:lnTo>
                <a:lnTo>
                  <a:pt x="9437463" y="10644934"/>
                </a:lnTo>
                <a:cubicBezTo>
                  <a:pt x="9373109" y="10613730"/>
                  <a:pt x="9322155" y="10568583"/>
                  <a:pt x="9277157" y="10515469"/>
                </a:cubicBezTo>
                <a:cubicBezTo>
                  <a:pt x="9220689" y="10444650"/>
                  <a:pt x="9181867" y="10363210"/>
                  <a:pt x="9157162" y="10278227"/>
                </a:cubicBezTo>
                <a:lnTo>
                  <a:pt x="9148758" y="10215703"/>
                </a:lnTo>
                <a:lnTo>
                  <a:pt x="9127337" y="10244036"/>
                </a:lnTo>
                <a:cubicBezTo>
                  <a:pt x="9020273" y="10354339"/>
                  <a:pt x="8852549" y="10364923"/>
                  <a:pt x="8746479" y="10256438"/>
                </a:cubicBezTo>
                <a:cubicBezTo>
                  <a:pt x="8876415" y="10245855"/>
                  <a:pt x="8984474" y="10237256"/>
                  <a:pt x="9096013" y="10178549"/>
                </a:cubicBezTo>
                <a:lnTo>
                  <a:pt x="9140193" y="10151991"/>
                </a:lnTo>
                <a:lnTo>
                  <a:pt x="9139074" y="10143672"/>
                </a:lnTo>
                <a:lnTo>
                  <a:pt x="9143499" y="10089691"/>
                </a:lnTo>
                <a:lnTo>
                  <a:pt x="9071620" y="10138806"/>
                </a:lnTo>
                <a:cubicBezTo>
                  <a:pt x="9029588" y="10157839"/>
                  <a:pt x="8985343" y="10170232"/>
                  <a:pt x="8941098" y="10179085"/>
                </a:cubicBezTo>
                <a:cubicBezTo>
                  <a:pt x="8852608" y="10193250"/>
                  <a:pt x="8760579" y="10186167"/>
                  <a:pt x="8672090" y="10161380"/>
                </a:cubicBezTo>
                <a:lnTo>
                  <a:pt x="8618699" y="10140896"/>
                </a:lnTo>
                <a:lnTo>
                  <a:pt x="8631433" y="10171268"/>
                </a:lnTo>
                <a:cubicBezTo>
                  <a:pt x="8673452" y="10320306"/>
                  <a:pt x="8598383" y="10470835"/>
                  <a:pt x="8449573" y="10507970"/>
                </a:cubicBezTo>
                <a:cubicBezTo>
                  <a:pt x="8505377" y="10391260"/>
                  <a:pt x="8553209" y="10292455"/>
                  <a:pt x="8558689" y="10165300"/>
                </a:cubicBezTo>
                <a:lnTo>
                  <a:pt x="8555195" y="10116531"/>
                </a:lnTo>
                <a:lnTo>
                  <a:pt x="8548647" y="10114019"/>
                </a:lnTo>
                <a:lnTo>
                  <a:pt x="8510980" y="10091117"/>
                </a:lnTo>
                <a:lnTo>
                  <a:pt x="8512138" y="10099960"/>
                </a:lnTo>
                <a:cubicBezTo>
                  <a:pt x="8515619" y="10171610"/>
                  <a:pt x="8501693" y="10239279"/>
                  <a:pt x="8477817" y="10302968"/>
                </a:cubicBezTo>
                <a:cubicBezTo>
                  <a:pt x="8445983" y="10387886"/>
                  <a:pt x="8396463" y="10462189"/>
                  <a:pt x="8332795" y="10525877"/>
                </a:cubicBezTo>
                <a:lnTo>
                  <a:pt x="8286117" y="10563153"/>
                </a:lnTo>
                <a:lnTo>
                  <a:pt x="8356023" y="10577942"/>
                </a:lnTo>
                <a:cubicBezTo>
                  <a:pt x="8414537" y="10600222"/>
                  <a:pt x="8461908" y="10638978"/>
                  <a:pt x="8492521" y="10687192"/>
                </a:cubicBezTo>
                <a:cubicBezTo>
                  <a:pt x="8529257" y="10745050"/>
                  <a:pt x="8541862" y="10816526"/>
                  <a:pt x="8520633" y="10889495"/>
                </a:cubicBezTo>
                <a:cubicBezTo>
                  <a:pt x="8446332" y="10783358"/>
                  <a:pt x="8385963" y="10693142"/>
                  <a:pt x="8278326" y="10626309"/>
                </a:cubicBezTo>
                <a:lnTo>
                  <a:pt x="8235843" y="10603301"/>
                </a:lnTo>
                <a:lnTo>
                  <a:pt x="8227566" y="10609911"/>
                </a:lnTo>
                <a:lnTo>
                  <a:pt x="8185454" y="10629897"/>
                </a:lnTo>
                <a:lnTo>
                  <a:pt x="8196631" y="10634224"/>
                </a:lnTo>
                <a:cubicBezTo>
                  <a:pt x="8261082" y="10666206"/>
                  <a:pt x="8312113" y="10712605"/>
                  <a:pt x="8357178" y="10762980"/>
                </a:cubicBezTo>
                <a:cubicBezTo>
                  <a:pt x="8413732" y="10833683"/>
                  <a:pt x="8452613" y="10914991"/>
                  <a:pt x="8473820" y="11003369"/>
                </a:cubicBezTo>
                <a:lnTo>
                  <a:pt x="8486085" y="11060613"/>
                </a:lnTo>
                <a:lnTo>
                  <a:pt x="8505173" y="11035209"/>
                </a:lnTo>
                <a:cubicBezTo>
                  <a:pt x="8612735" y="10923243"/>
                  <a:pt x="8778469" y="10913290"/>
                  <a:pt x="8884540" y="11024759"/>
                </a:cubicBezTo>
                <a:cubicBezTo>
                  <a:pt x="8757255" y="11032721"/>
                  <a:pt x="8647871" y="11040683"/>
                  <a:pt x="8535502" y="11100896"/>
                </a:cubicBezTo>
                <a:lnTo>
                  <a:pt x="8493500" y="11126681"/>
                </a:lnTo>
                <a:lnTo>
                  <a:pt x="8495028" y="11176591"/>
                </a:lnTo>
                <a:lnTo>
                  <a:pt x="8495011" y="11176778"/>
                </a:lnTo>
                <a:lnTo>
                  <a:pt x="8591133" y="11127816"/>
                </a:lnTo>
                <a:cubicBezTo>
                  <a:pt x="8624759" y="11115865"/>
                  <a:pt x="8659270" y="11107897"/>
                  <a:pt x="8692895" y="11102585"/>
                </a:cubicBezTo>
                <a:cubicBezTo>
                  <a:pt x="8737139" y="11095503"/>
                  <a:pt x="8782269" y="11092847"/>
                  <a:pt x="8826956" y="11095060"/>
                </a:cubicBezTo>
                <a:lnTo>
                  <a:pt x="8896564" y="11106550"/>
                </a:lnTo>
                <a:lnTo>
                  <a:pt x="8753447" y="11225067"/>
                </a:lnTo>
                <a:lnTo>
                  <a:pt x="8707939" y="11218556"/>
                </a:lnTo>
                <a:lnTo>
                  <a:pt x="8491437" y="11215903"/>
                </a:lnTo>
                <a:lnTo>
                  <a:pt x="8484424" y="11268505"/>
                </a:lnTo>
                <a:cubicBezTo>
                  <a:pt x="8466751" y="11356884"/>
                  <a:pt x="8431405" y="11445262"/>
                  <a:pt x="8360713" y="11515965"/>
                </a:cubicBezTo>
                <a:cubicBezTo>
                  <a:pt x="8381921" y="11356884"/>
                  <a:pt x="8371317" y="11194267"/>
                  <a:pt x="8332436" y="11038721"/>
                </a:cubicBezTo>
                <a:cubicBezTo>
                  <a:pt x="8303276" y="10922062"/>
                  <a:pt x="8256221" y="10811368"/>
                  <a:pt x="8194256" y="10708131"/>
                </a:cubicBezTo>
                <a:lnTo>
                  <a:pt x="8152665" y="10645460"/>
                </a:lnTo>
                <a:lnTo>
                  <a:pt x="8106419" y="10667407"/>
                </a:lnTo>
                <a:cubicBezTo>
                  <a:pt x="8021528" y="10695713"/>
                  <a:pt x="7929563" y="10709867"/>
                  <a:pt x="7830523" y="10681560"/>
                </a:cubicBezTo>
                <a:cubicBezTo>
                  <a:pt x="7979083" y="10621410"/>
                  <a:pt x="8113493" y="10532954"/>
                  <a:pt x="8230219" y="10419730"/>
                </a:cubicBezTo>
                <a:cubicBezTo>
                  <a:pt x="8286813" y="10363118"/>
                  <a:pt x="8338101" y="10301198"/>
                  <a:pt x="8383641" y="10235298"/>
                </a:cubicBezTo>
                <a:lnTo>
                  <a:pt x="8478548" y="10069070"/>
                </a:lnTo>
                <a:lnTo>
                  <a:pt x="8438477" y="10037443"/>
                </a:lnTo>
                <a:cubicBezTo>
                  <a:pt x="8367685" y="9977244"/>
                  <a:pt x="8311052" y="9902882"/>
                  <a:pt x="8286275" y="9807273"/>
                </a:cubicBezTo>
                <a:cubicBezTo>
                  <a:pt x="8413700" y="9902882"/>
                  <a:pt x="8558823" y="9977245"/>
                  <a:pt x="8714565" y="10019737"/>
                </a:cubicBezTo>
                <a:cubicBezTo>
                  <a:pt x="8828716" y="10051607"/>
                  <a:pt x="8948841" y="10067542"/>
                  <a:pt x="9068965" y="10066048"/>
                </a:cubicBezTo>
                <a:lnTo>
                  <a:pt x="9145824" y="10061331"/>
                </a:lnTo>
                <a:lnTo>
                  <a:pt x="9150103" y="10009117"/>
                </a:lnTo>
                <a:cubicBezTo>
                  <a:pt x="9167750" y="9920594"/>
                  <a:pt x="9203043" y="9835613"/>
                  <a:pt x="9273628" y="9761253"/>
                </a:cubicBezTo>
                <a:close/>
                <a:moveTo>
                  <a:pt x="6822010" y="6587908"/>
                </a:moveTo>
                <a:lnTo>
                  <a:pt x="6808514" y="6586923"/>
                </a:lnTo>
                <a:cubicBezTo>
                  <a:pt x="6736863" y="6574715"/>
                  <a:pt x="6672691" y="6543586"/>
                  <a:pt x="6614147" y="6506554"/>
                </a:cubicBezTo>
                <a:cubicBezTo>
                  <a:pt x="6538589" y="6454555"/>
                  <a:pt x="6475413" y="6384317"/>
                  <a:pt x="6427363" y="6303462"/>
                </a:cubicBezTo>
                <a:lnTo>
                  <a:pt x="6400626" y="6254908"/>
                </a:lnTo>
                <a:lnTo>
                  <a:pt x="6390261" y="6282075"/>
                </a:lnTo>
                <a:cubicBezTo>
                  <a:pt x="6316138" y="6422159"/>
                  <a:pt x="6154220" y="6480661"/>
                  <a:pt x="6017754" y="6403081"/>
                </a:cubicBezTo>
                <a:cubicBezTo>
                  <a:pt x="6141515" y="6356028"/>
                  <a:pt x="6246728" y="6316610"/>
                  <a:pt x="6340585" y="6226281"/>
                </a:cubicBezTo>
                <a:lnTo>
                  <a:pt x="6372127" y="6188062"/>
                </a:lnTo>
                <a:lnTo>
                  <a:pt x="6369361" y="6181199"/>
                </a:lnTo>
                <a:lnTo>
                  <a:pt x="6356008" y="6131612"/>
                </a:lnTo>
                <a:lnTo>
                  <a:pt x="6301066" y="6195654"/>
                </a:lnTo>
                <a:cubicBezTo>
                  <a:pt x="6264979" y="6226295"/>
                  <a:pt x="6225228" y="6250942"/>
                  <a:pt x="6183452" y="6271156"/>
                </a:cubicBezTo>
                <a:cubicBezTo>
                  <a:pt x="6099899" y="6311584"/>
                  <a:pt x="6010739" y="6331659"/>
                  <a:pt x="5918595" y="6333878"/>
                </a:cubicBezTo>
                <a:lnTo>
                  <a:pt x="5859445" y="6328682"/>
                </a:lnTo>
                <a:lnTo>
                  <a:pt x="5874582" y="6346436"/>
                </a:lnTo>
                <a:cubicBezTo>
                  <a:pt x="5966724" y="6481401"/>
                  <a:pt x="5938279" y="6656148"/>
                  <a:pt x="5800960" y="6735906"/>
                </a:cubicBezTo>
                <a:cubicBezTo>
                  <a:pt x="5820871" y="6604806"/>
                  <a:pt x="5839860" y="6495338"/>
                  <a:pt x="5807318" y="6369813"/>
                </a:cubicBezTo>
                <a:lnTo>
                  <a:pt x="5788857" y="6322482"/>
                </a:lnTo>
                <a:lnTo>
                  <a:pt x="5781293" y="6321818"/>
                </a:lnTo>
                <a:lnTo>
                  <a:pt x="5737564" y="6310245"/>
                </a:lnTo>
                <a:lnTo>
                  <a:pt x="5741206" y="6317982"/>
                </a:lnTo>
                <a:cubicBezTo>
                  <a:pt x="5766368" y="6387191"/>
                  <a:pt x="5771405" y="6457603"/>
                  <a:pt x="5769216" y="6526749"/>
                </a:cubicBezTo>
                <a:cubicBezTo>
                  <a:pt x="5761181" y="6619066"/>
                  <a:pt x="5732564" y="6706759"/>
                  <a:pt x="5685861" y="6787208"/>
                </a:cubicBezTo>
                <a:lnTo>
                  <a:pt x="5655636" y="6836461"/>
                </a:lnTo>
                <a:lnTo>
                  <a:pt x="5706289" y="6832668"/>
                </a:lnTo>
                <a:cubicBezTo>
                  <a:pt x="5803895" y="6834302"/>
                  <a:pt x="5888549" y="6880385"/>
                  <a:pt x="5935593" y="6954111"/>
                </a:cubicBezTo>
                <a:cubicBezTo>
                  <a:pt x="5960683" y="6993430"/>
                  <a:pt x="5975074" y="7040613"/>
                  <a:pt x="5975028" y="7093109"/>
                </a:cubicBezTo>
                <a:cubicBezTo>
                  <a:pt x="5875109" y="7009118"/>
                  <a:pt x="5788451" y="6937768"/>
                  <a:pt x="5662683" y="6903020"/>
                </a:cubicBezTo>
                <a:lnTo>
                  <a:pt x="5613357" y="6892460"/>
                </a:lnTo>
                <a:lnTo>
                  <a:pt x="5579242" y="6930513"/>
                </a:lnTo>
                <a:lnTo>
                  <a:pt x="5579121" y="6930619"/>
                </a:lnTo>
                <a:lnTo>
                  <a:pt x="5633286" y="6942870"/>
                </a:lnTo>
                <a:cubicBezTo>
                  <a:pt x="5686410" y="6959008"/>
                  <a:pt x="5735097" y="6985705"/>
                  <a:pt x="5778090" y="7015423"/>
                </a:cubicBezTo>
                <a:cubicBezTo>
                  <a:pt x="5853648" y="7067421"/>
                  <a:pt x="5919324" y="7135035"/>
                  <a:pt x="5964752" y="7213391"/>
                </a:cubicBezTo>
                <a:lnTo>
                  <a:pt x="5992007" y="7272370"/>
                </a:lnTo>
                <a:lnTo>
                  <a:pt x="6004996" y="7238417"/>
                </a:lnTo>
                <a:cubicBezTo>
                  <a:pt x="6079112" y="7098310"/>
                  <a:pt x="6240004" y="7039516"/>
                  <a:pt x="6372281" y="7116795"/>
                </a:cubicBezTo>
                <a:cubicBezTo>
                  <a:pt x="6248565" y="7164088"/>
                  <a:pt x="6146271" y="7203638"/>
                  <a:pt x="6053760" y="7294056"/>
                </a:cubicBezTo>
                <a:lnTo>
                  <a:pt x="6020694" y="7334445"/>
                </a:lnTo>
                <a:lnTo>
                  <a:pt x="6023172" y="7339808"/>
                </a:lnTo>
                <a:lnTo>
                  <a:pt x="6034835" y="7391915"/>
                </a:lnTo>
                <a:lnTo>
                  <a:pt x="6090856" y="7326035"/>
                </a:lnTo>
                <a:cubicBezTo>
                  <a:pt x="6126336" y="7295388"/>
                  <a:pt x="6165475" y="7270105"/>
                  <a:pt x="6205989" y="7248637"/>
                </a:cubicBezTo>
                <a:cubicBezTo>
                  <a:pt x="6289643" y="7208205"/>
                  <a:pt x="6384052" y="7188039"/>
                  <a:pt x="6476335" y="7185876"/>
                </a:cubicBezTo>
                <a:lnTo>
                  <a:pt x="6539112" y="7192418"/>
                </a:lnTo>
                <a:lnTo>
                  <a:pt x="6516406" y="7164975"/>
                </a:lnTo>
                <a:cubicBezTo>
                  <a:pt x="6430961" y="7031229"/>
                  <a:pt x="6461003" y="6861947"/>
                  <a:pt x="6595519" y="6783817"/>
                </a:cubicBezTo>
                <a:cubicBezTo>
                  <a:pt x="6575608" y="6914917"/>
                  <a:pt x="6556619" y="7024385"/>
                  <a:pt x="6589161" y="7149911"/>
                </a:cubicBezTo>
                <a:lnTo>
                  <a:pt x="6608564" y="7199655"/>
                </a:lnTo>
                <a:lnTo>
                  <a:pt x="6611978" y="7200011"/>
                </a:lnTo>
                <a:lnTo>
                  <a:pt x="6658772" y="7214545"/>
                </a:lnTo>
                <a:lnTo>
                  <a:pt x="6652883" y="7202202"/>
                </a:lnTo>
                <a:cubicBezTo>
                  <a:pt x="6627245" y="7133638"/>
                  <a:pt x="6621380" y="7064208"/>
                  <a:pt x="6625554" y="6993082"/>
                </a:cubicBezTo>
                <a:cubicBezTo>
                  <a:pt x="6633733" y="6900739"/>
                  <a:pt x="6662487" y="6812989"/>
                  <a:pt x="6704200" y="6732586"/>
                </a:cubicBezTo>
                <a:lnTo>
                  <a:pt x="6742127" y="6680332"/>
                </a:lnTo>
                <a:lnTo>
                  <a:pt x="6706251" y="6686194"/>
                </a:lnTo>
                <a:cubicBezTo>
                  <a:pt x="6549037" y="6692300"/>
                  <a:pt x="6417309" y="6581693"/>
                  <a:pt x="6415342" y="6426418"/>
                </a:cubicBezTo>
                <a:cubicBezTo>
                  <a:pt x="6519076" y="6510339"/>
                  <a:pt x="6605202" y="6580281"/>
                  <a:pt x="6729293" y="6615559"/>
                </a:cubicBezTo>
                <a:lnTo>
                  <a:pt x="6780777" y="6627084"/>
                </a:lnTo>
                <a:lnTo>
                  <a:pt x="6785823" y="6620131"/>
                </a:lnTo>
                <a:close/>
                <a:moveTo>
                  <a:pt x="7155571" y="6431847"/>
                </a:moveTo>
                <a:cubicBezTo>
                  <a:pt x="7027356" y="6534937"/>
                  <a:pt x="6920171" y="6663081"/>
                  <a:pt x="6838904" y="6805919"/>
                </a:cubicBezTo>
                <a:cubicBezTo>
                  <a:pt x="6777954" y="6913046"/>
                  <a:pt x="6733053" y="7029841"/>
                  <a:pt x="6706215" y="7149773"/>
                </a:cubicBezTo>
                <a:lnTo>
                  <a:pt x="6693248" y="7225252"/>
                </a:lnTo>
                <a:lnTo>
                  <a:pt x="6744432" y="7241150"/>
                </a:lnTo>
                <a:cubicBezTo>
                  <a:pt x="6827463" y="7280242"/>
                  <a:pt x="6903241" y="7337457"/>
                  <a:pt x="6959264" y="7425913"/>
                </a:cubicBezTo>
                <a:cubicBezTo>
                  <a:pt x="6806458" y="7365373"/>
                  <a:pt x="6641648" y="7338457"/>
                  <a:pt x="6477464" y="7337175"/>
                </a:cubicBezTo>
                <a:cubicBezTo>
                  <a:pt x="6395434" y="7339096"/>
                  <a:pt x="6313592" y="7348709"/>
                  <a:pt x="6233205" y="7365340"/>
                </a:cubicBezTo>
                <a:lnTo>
                  <a:pt x="6041678" y="7422489"/>
                </a:lnTo>
                <a:lnTo>
                  <a:pt x="6052913" y="7472685"/>
                </a:lnTo>
                <a:cubicBezTo>
                  <a:pt x="6060222" y="7564775"/>
                  <a:pt x="6052284" y="7662359"/>
                  <a:pt x="6000619" y="7753310"/>
                </a:cubicBezTo>
                <a:cubicBezTo>
                  <a:pt x="5976240" y="7589868"/>
                  <a:pt x="5918745" y="7434916"/>
                  <a:pt x="5835878" y="7290827"/>
                </a:cubicBezTo>
                <a:cubicBezTo>
                  <a:pt x="5779810" y="7196070"/>
                  <a:pt x="5710945" y="7108829"/>
                  <a:pt x="5631496" y="7031215"/>
                </a:cubicBezTo>
                <a:lnTo>
                  <a:pt x="5548829" y="6957092"/>
                </a:lnTo>
                <a:lnTo>
                  <a:pt x="5506476" y="6991116"/>
                </a:lnTo>
                <a:cubicBezTo>
                  <a:pt x="5430970" y="7044109"/>
                  <a:pt x="5342371" y="7084620"/>
                  <a:pt x="5240070" y="7087075"/>
                </a:cubicBezTo>
                <a:cubicBezTo>
                  <a:pt x="5368125" y="6984201"/>
                  <a:pt x="5475111" y="6856242"/>
                  <a:pt x="5556155" y="6713552"/>
                </a:cubicBezTo>
                <a:cubicBezTo>
                  <a:pt x="5596677" y="6642206"/>
                  <a:pt x="5629435" y="6567209"/>
                  <a:pt x="5654772" y="6489511"/>
                </a:cubicBezTo>
                <a:lnTo>
                  <a:pt x="5697990" y="6297548"/>
                </a:lnTo>
                <a:lnTo>
                  <a:pt x="5650941" y="6278859"/>
                </a:lnTo>
                <a:cubicBezTo>
                  <a:pt x="5568061" y="6239878"/>
                  <a:pt x="5489936" y="6185416"/>
                  <a:pt x="5436555" y="6094504"/>
                </a:cubicBezTo>
                <a:cubicBezTo>
                  <a:pt x="5589090" y="6154857"/>
                  <a:pt x="5751134" y="6184248"/>
                  <a:pt x="5917566" y="6182800"/>
                </a:cubicBezTo>
                <a:cubicBezTo>
                  <a:pt x="5999472" y="6180828"/>
                  <a:pt x="6081196" y="6171177"/>
                  <a:pt x="6161472" y="6154517"/>
                </a:cubicBezTo>
                <a:lnTo>
                  <a:pt x="6349173" y="6098396"/>
                </a:lnTo>
                <a:lnTo>
                  <a:pt x="6341822" y="6046667"/>
                </a:lnTo>
                <a:cubicBezTo>
                  <a:pt x="6331891" y="5952077"/>
                  <a:pt x="6342451" y="5856992"/>
                  <a:pt x="6391616" y="5768664"/>
                </a:cubicBezTo>
                <a:cubicBezTo>
                  <a:pt x="6418495" y="5929482"/>
                  <a:pt x="6473491" y="6087059"/>
                  <a:pt x="6558859" y="6228525"/>
                </a:cubicBezTo>
                <a:cubicBezTo>
                  <a:pt x="6620919" y="6332750"/>
                  <a:pt x="6698656" y="6429389"/>
                  <a:pt x="6788702" y="6513115"/>
                </a:cubicBezTo>
                <a:lnTo>
                  <a:pt x="6848973" y="6563898"/>
                </a:lnTo>
                <a:lnTo>
                  <a:pt x="6889019" y="6528238"/>
                </a:lnTo>
                <a:cubicBezTo>
                  <a:pt x="6964607" y="6475119"/>
                  <a:pt x="7050767" y="6437087"/>
                  <a:pt x="7155571" y="6431847"/>
                </a:cubicBezTo>
                <a:close/>
                <a:moveTo>
                  <a:pt x="5339808" y="201864"/>
                </a:moveTo>
                <a:cubicBezTo>
                  <a:pt x="4876189" y="665725"/>
                  <a:pt x="4488896" y="1214043"/>
                  <a:pt x="4225330" y="1824135"/>
                </a:cubicBezTo>
                <a:cubicBezTo>
                  <a:pt x="3996504" y="2345338"/>
                  <a:pt x="3851357" y="2912265"/>
                  <a:pt x="3805070" y="3487636"/>
                </a:cubicBezTo>
                <a:lnTo>
                  <a:pt x="3801943" y="3543949"/>
                </a:lnTo>
                <a:lnTo>
                  <a:pt x="4015871" y="3605408"/>
                </a:lnTo>
                <a:cubicBezTo>
                  <a:pt x="4366419" y="3728702"/>
                  <a:pt x="4692295" y="3921857"/>
                  <a:pt x="4954392" y="4252682"/>
                </a:cubicBezTo>
                <a:cubicBezTo>
                  <a:pt x="4317268" y="4073918"/>
                  <a:pt x="3647269" y="4022547"/>
                  <a:pt x="2989749" y="4090360"/>
                </a:cubicBezTo>
                <a:cubicBezTo>
                  <a:pt x="2496603" y="4141211"/>
                  <a:pt x="2009337" y="4267209"/>
                  <a:pt x="1554006" y="4459653"/>
                </a:cubicBezTo>
                <a:lnTo>
                  <a:pt x="1517886" y="4477098"/>
                </a:lnTo>
                <a:lnTo>
                  <a:pt x="1355324" y="4280794"/>
                </a:lnTo>
                <a:lnTo>
                  <a:pt x="1390013" y="4235712"/>
                </a:lnTo>
                <a:cubicBezTo>
                  <a:pt x="1530859" y="4074509"/>
                  <a:pt x="1696478" y="3943822"/>
                  <a:pt x="1878412" y="3829384"/>
                </a:cubicBezTo>
                <a:cubicBezTo>
                  <a:pt x="2199822" y="3640345"/>
                  <a:pt x="2554272" y="3529374"/>
                  <a:pt x="2914966" y="3478000"/>
                </a:cubicBezTo>
                <a:lnTo>
                  <a:pt x="3151856" y="3467717"/>
                </a:lnTo>
                <a:lnTo>
                  <a:pt x="3071623" y="3376287"/>
                </a:lnTo>
                <a:cubicBezTo>
                  <a:pt x="2684201" y="2875925"/>
                  <a:pt x="2738397" y="2186198"/>
                  <a:pt x="3242094" y="1816847"/>
                </a:cubicBezTo>
                <a:cubicBezTo>
                  <a:pt x="3209829" y="2352563"/>
                  <a:pt x="3182167" y="2797964"/>
                  <a:pt x="3356707" y="3286627"/>
                </a:cubicBezTo>
                <a:lnTo>
                  <a:pt x="3438538" y="3480271"/>
                </a:lnTo>
                <a:lnTo>
                  <a:pt x="3473863" y="3482365"/>
                </a:lnTo>
                <a:lnTo>
                  <a:pt x="3653901" y="3512664"/>
                </a:lnTo>
                <a:lnTo>
                  <a:pt x="3635607" y="3479029"/>
                </a:lnTo>
                <a:cubicBezTo>
                  <a:pt x="3508103" y="3215949"/>
                  <a:pt x="3460028" y="2933135"/>
                  <a:pt x="3444418" y="2654934"/>
                </a:cubicBezTo>
                <a:cubicBezTo>
                  <a:pt x="3438041" y="2286064"/>
                  <a:pt x="3520313" y="1915092"/>
                  <a:pt x="3672688" y="1568824"/>
                </a:cubicBezTo>
                <a:lnTo>
                  <a:pt x="3765276" y="1375871"/>
                </a:lnTo>
                <a:lnTo>
                  <a:pt x="3655985" y="1397382"/>
                </a:lnTo>
                <a:cubicBezTo>
                  <a:pt x="3103150" y="1471553"/>
                  <a:pt x="2597682" y="1179696"/>
                  <a:pt x="2436411" y="684830"/>
                </a:cubicBezTo>
                <a:lnTo>
                  <a:pt x="2423644" y="637101"/>
                </a:lnTo>
                <a:lnTo>
                  <a:pt x="2527495" y="551100"/>
                </a:lnTo>
                <a:lnTo>
                  <a:pt x="2738507" y="688926"/>
                </a:lnTo>
                <a:cubicBezTo>
                  <a:pt x="3081024" y="903125"/>
                  <a:pt x="3415692" y="1068761"/>
                  <a:pt x="3854328" y="1125078"/>
                </a:cubicBezTo>
                <a:lnTo>
                  <a:pt x="3913272" y="1130963"/>
                </a:lnTo>
                <a:lnTo>
                  <a:pt x="3937356" y="1093196"/>
                </a:lnTo>
                <a:lnTo>
                  <a:pt x="4051367" y="954410"/>
                </a:lnTo>
                <a:lnTo>
                  <a:pt x="4015835" y="952545"/>
                </a:lnTo>
                <a:cubicBezTo>
                  <a:pt x="3721794" y="925157"/>
                  <a:pt x="3454079" y="829124"/>
                  <a:pt x="3208361" y="694856"/>
                </a:cubicBezTo>
                <a:cubicBezTo>
                  <a:pt x="3044549" y="605344"/>
                  <a:pt x="2894118" y="499351"/>
                  <a:pt x="2756812" y="378681"/>
                </a:cubicBezTo>
                <a:lnTo>
                  <a:pt x="2747132" y="369216"/>
                </a:lnTo>
                <a:lnTo>
                  <a:pt x="3192983" y="0"/>
                </a:lnTo>
                <a:lnTo>
                  <a:pt x="3296226" y="112069"/>
                </a:lnTo>
                <a:cubicBezTo>
                  <a:pt x="3545714" y="372452"/>
                  <a:pt x="3820718" y="608630"/>
                  <a:pt x="4114499" y="817240"/>
                </a:cubicBezTo>
                <a:lnTo>
                  <a:pt x="4151807" y="842564"/>
                </a:lnTo>
                <a:lnTo>
                  <a:pt x="4313387" y="688618"/>
                </a:lnTo>
                <a:cubicBezTo>
                  <a:pt x="4599815" y="435030"/>
                  <a:pt x="4935757" y="247365"/>
                  <a:pt x="5339808" y="201864"/>
                </a:cubicBezTo>
                <a:close/>
              </a:path>
            </a:pathLst>
          </a:custGeom>
          <a:solidFill>
            <a:srgbClr val="FFFFFF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935481" y="2369856"/>
            <a:ext cx="8321040" cy="1852883"/>
          </a:xfrm>
          <a:noFill/>
        </p:spPr>
        <p:txBody>
          <a:bodyPr/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935481" y="4818127"/>
            <a:ext cx="8321040" cy="6096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2188-1081-4A42-9607-9614287BC6B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1066800" y="4545478"/>
            <a:ext cx="10058400" cy="0"/>
          </a:xfrm>
          <a:prstGeom prst="line">
            <a:avLst/>
          </a:prstGeom>
          <a:noFill/>
          <a:ln w="15875" cap="flat" cmpd="sng" algn="ctr">
            <a:gradFill flip="none" rotWithShape="1">
              <a:gsLst>
                <a:gs pos="40000">
                  <a:schemeClr val="tx1"/>
                </a:gs>
                <a:gs pos="60000">
                  <a:srgbClr val="6B3529"/>
                </a:gs>
              </a:gsLst>
              <a:lin ang="0" scaled="1"/>
              <a:tileRect/>
            </a:gra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2AB9764-8510-4B52-AFB6-9554CFC99AE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379200" y="6415888"/>
            <a:ext cx="333244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2BE16F37-D63B-443C-96C0-C234F1098F7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108D63-2C0B-40E6-8C5A-4714009885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839338" y="6488405"/>
            <a:ext cx="224333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2233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0448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7E366-DBCE-4E96-807F-44D8D8C60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330CDE-207B-460D-807A-FB5AB7AEC8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0DAEA2-BEB1-407A-A814-A335D76CD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9EF39-6CEF-48E5-A394-36848A2E3A09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3A0188-2C77-48A4-9393-877A45421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E2F468-F765-4EF7-97BC-6E9F31281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02B16-4DB6-4409-B188-8179106294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814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82296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 sz="2400"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496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1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83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9575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3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492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3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97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46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3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977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3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2279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4" y="3932484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501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3C6397-4FB9-6EE0-BCC2-DEE8F4C6D8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2564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5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6982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 userDrawn="1"/>
        </p:nvSpPr>
        <p:spPr>
          <a:xfrm>
            <a:off x="4249783" y="0"/>
            <a:ext cx="794221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3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35406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001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5" y="781844"/>
            <a:ext cx="7157993" cy="5294312"/>
          </a:xfrm>
        </p:spPr>
        <p:txBody>
          <a:bodyPr anchor="ctr"/>
          <a:lstStyle>
            <a:lvl1pPr marL="457211" indent="-457211">
              <a:lnSpc>
                <a:spcPct val="110000"/>
              </a:lnSpc>
              <a:buFont typeface="+mj-lt"/>
              <a:buAutoNum type="arabicPeriod"/>
              <a:defRPr/>
            </a:lvl1pPr>
            <a:lvl2pPr marL="800120" indent="-331796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209" indent="-342909">
              <a:buFont typeface="+mj-lt"/>
              <a:buAutoNum type="arabicPeriod"/>
              <a:defRPr/>
            </a:lvl3pPr>
            <a:lvl4pPr marL="1204943" indent="-342909">
              <a:buFont typeface="+mj-lt"/>
              <a:buAutoNum type="arabicPeriod"/>
              <a:defRPr/>
            </a:lvl4pPr>
            <a:lvl5pPr marL="1430373" indent="-228606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044991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5" y="800328"/>
            <a:ext cx="7157993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821707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5220004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solidFill>
                  <a:srgbClr val="C50F3C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11" y="1189899"/>
            <a:ext cx="515084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06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5220004" cy="4351338"/>
          </a:xfrm>
          <a:ln>
            <a:noFill/>
          </a:ln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11" y="1189899"/>
            <a:ext cx="515084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1203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3" y="0"/>
            <a:ext cx="6095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8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5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5220004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22905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t"/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4103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31C17B-5D12-4B72-A403-620F5B24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66501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614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9450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539995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6" y="1942677"/>
            <a:ext cx="539995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94366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9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accent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34010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3700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94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3543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0759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207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 sz="2200"/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2000" b="0" i="0">
                <a:solidFill>
                  <a:schemeClr val="tx1"/>
                </a:solidFill>
                <a:latin typeface="+mn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800"/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6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2512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628446"/>
            <a:ext cx="2743200" cy="2295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solidFill>
                  <a:schemeClr val="bg1">
                    <a:lumMod val="50000"/>
                  </a:schemeClr>
                </a:solidFill>
                <a:latin typeface="Trebuchet MS" panose="020B0703020202090204" pitchFamily="34" charset="0"/>
              </a:rPr>
              <a:t>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4581"/>
            <a:ext cx="10972800" cy="521208"/>
          </a:xfrm>
        </p:spPr>
        <p:txBody>
          <a:bodyPr tIns="0" bIns="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200"/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536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A85016-49A7-40D1-9FD2-83F41C1288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9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5A85016-49A7-40D1-9FD2-83F41C128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22DEDD-E2DF-4079-9402-0ACC84763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663" y="338493"/>
            <a:ext cx="10924674" cy="967564"/>
          </a:xfrm>
        </p:spPr>
        <p:txBody>
          <a:bodyPr vert="horz" lIns="0" anchor="t"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A201D0-6482-4639-AA9A-CC4B60B0C2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73AD69-EDB4-4178-A420-2B93C70405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677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15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A11B6D-85FD-BA46-B0C1-FEA93902B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15" y="428595"/>
            <a:ext cx="11269255" cy="485806"/>
          </a:xfrm>
        </p:spPr>
        <p:txBody>
          <a:bodyPr lIns="0" tIns="0" rIns="0" bIns="0" anchor="t" anchorCtr="0"/>
          <a:lstStyle>
            <a:lvl1pPr>
              <a:defRPr b="1" i="0">
                <a:solidFill>
                  <a:schemeClr val="accent1"/>
                </a:solidFill>
                <a:latin typeface="Trebuchet MS" panose="020B070302020209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B283B9-5D9B-F94B-BF86-B66DD0953C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3488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914400"/>
          </a:xfrm>
          <a:noFill/>
        </p:spPr>
        <p:txBody>
          <a:bodyPr anchor="b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 marL="342900" indent="-342900"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403061" y="6419334"/>
            <a:ext cx="8975466" cy="184666"/>
          </a:xfrm>
        </p:spPr>
        <p:txBody>
          <a:bodyPr wrap="square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C70C4E7B-8092-4727-B336-2B4B5466F5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9200" y="6238875"/>
            <a:ext cx="333244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BE16F37-D63B-443C-96C0-C234F1098F7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498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10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91654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289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965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492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38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4066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8495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2285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3384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05336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 userDrawn="1"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3535407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896609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63044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solidFill>
                  <a:srgbClr val="C50F3C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4739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  <a:ln>
            <a:noFill/>
          </a:ln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1567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86122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8131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718074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978438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8330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925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6336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7172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28362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51391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66436"/>
            <a:ext cx="10972800" cy="6765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72800" cy="48164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252200" y="6537326"/>
            <a:ext cx="330200" cy="168275"/>
          </a:xfrm>
        </p:spPr>
        <p:txBody>
          <a:bodyPr/>
          <a:lstStyle>
            <a:lvl1pPr>
              <a:defRPr sz="10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BD5F9E-BC76-487B-A2BC-019AD28A14B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" y="6340476"/>
            <a:ext cx="10972800" cy="365125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 smtClean="0"/>
            </a:lvl1pPr>
            <a:lvl2pPr marL="27432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 smtClean="0"/>
            </a:lvl2pPr>
            <a:lvl3pPr marL="54864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 smtClean="0"/>
            </a:lvl3pPr>
            <a:lvl4pPr marL="77724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 smtClean="0"/>
            </a:lvl4pPr>
            <a:lvl5pPr marL="100584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2979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1" y="167642"/>
            <a:ext cx="10565728" cy="787400"/>
          </a:xfrm>
          <a:noFill/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1" y="1676400"/>
            <a:ext cx="10565728" cy="4419600"/>
          </a:xfrm>
        </p:spPr>
        <p:txBody>
          <a:bodyPr/>
          <a:lstStyle>
            <a:lvl1pPr>
              <a:spcBef>
                <a:spcPts val="81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2" y="6520934"/>
            <a:ext cx="10565726" cy="184666"/>
          </a:xfrm>
        </p:spPr>
        <p:txBody>
          <a:bodyPr wrap="square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9" y="6340478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647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4F716-EAAB-4637-A3FC-3ED152BD5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94EA68-1896-4170-AF41-7851C3BD2E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29540-9F52-49CE-80B2-440A7DC823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3293AFA-D549-4448-B7D1-DCC7FA401769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8E1F8-EE57-4F00-AA76-D7E39EE54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E985B4-5AB8-4076-8F63-64FD063A5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432C3B-4338-4856-87CE-B5E498F9ED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981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8004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5B22E-471E-4045-B50B-93E1FC416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A940E1-C825-4EB9-A7F0-FCB098A495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9D208B-72E7-46D8-9C16-50DF93B67118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C09AAD-B717-404F-A18C-F93D1FB51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1C7DF7-30BD-4DD9-9574-212E8F13C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E872E-9682-45C7-AAB4-C06FA91656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22854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66437"/>
            <a:ext cx="10972800" cy="6765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D2D4EC-E118-4CAB-8411-D48982957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93251" y="6537325"/>
            <a:ext cx="812800" cy="168275"/>
          </a:xfrm>
          <a:prstGeom prst="rect">
            <a:avLst/>
          </a:prstGeom>
        </p:spPr>
        <p:txBody>
          <a:bodyPr/>
          <a:lstStyle/>
          <a:p>
            <a:fld id="{FF46F217-BBC4-4BC6-842E-4ECB3CFDAC69}" type="datetime1">
              <a:rPr lang="en-US" smtClean="0"/>
              <a:t>7/23/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6B1277-C65B-4B91-AB4B-F9062F82EF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52200" y="6537325"/>
            <a:ext cx="330200" cy="168275"/>
          </a:xfrm>
        </p:spPr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DCAC2DD-3FEC-45B4-8142-CEA9FBF0FC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538384"/>
            <a:ext cx="9508067" cy="167216"/>
          </a:xfrm>
        </p:spPr>
        <p:txBody>
          <a:bodyPr anchor="b" anchorCtr="0"/>
          <a:lstStyle>
            <a:lvl1pPr marL="0" indent="0">
              <a:buNone/>
              <a:defRPr sz="1067"/>
            </a:lvl1pPr>
          </a:lstStyle>
          <a:p>
            <a:pPr lvl="0"/>
            <a:r>
              <a:rPr lang="en-GB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52716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10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91654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7491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79377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63EBDF6-546C-CF7B-6060-E088F9D1D87F}"/>
              </a:ext>
            </a:extLst>
          </p:cNvPr>
          <p:cNvSpPr/>
          <p:nvPr userDrawn="1"/>
        </p:nvSpPr>
        <p:spPr>
          <a:xfrm>
            <a:off x="0" y="-1"/>
            <a:ext cx="12192000" cy="14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10F649-45EE-9A20-14D5-0967BF761A06}"/>
              </a:ext>
            </a:extLst>
          </p:cNvPr>
          <p:cNvSpPr/>
          <p:nvPr userDrawn="1"/>
        </p:nvSpPr>
        <p:spPr>
          <a:xfrm>
            <a:off x="0" y="5930900"/>
            <a:ext cx="12192000" cy="92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74625"/>
            <a:ext cx="10972800" cy="987019"/>
          </a:xfrm>
        </p:spPr>
        <p:txBody>
          <a:bodyPr anchor="ctr"/>
          <a:lstStyle>
            <a:lvl1pPr algn="l">
              <a:lnSpc>
                <a:spcPct val="85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6" indent="0">
              <a:lnSpc>
                <a:spcPct val="110000"/>
              </a:lnSpc>
              <a:buNone/>
              <a:tabLst/>
              <a:defRPr sz="1801" b="0">
                <a:solidFill>
                  <a:schemeClr val="tx1"/>
                </a:solidFill>
              </a:defRPr>
            </a:lvl2pPr>
            <a:lvl3pPr marL="287344" indent="-169867">
              <a:lnSpc>
                <a:spcPct val="110000"/>
              </a:lnSpc>
              <a:tabLst/>
              <a:defRPr sz="1600"/>
            </a:lvl3pPr>
            <a:lvl4pPr marL="693754" indent="-169867">
              <a:lnSpc>
                <a:spcPct val="110000"/>
              </a:lnSpc>
              <a:tabLst/>
              <a:defRPr sz="1401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8" y="6400799"/>
            <a:ext cx="366501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1">
                <a:solidFill>
                  <a:schemeClr val="accent1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9207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72201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6891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latin typeface="+mj-lt"/>
              </a:defRPr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800" b="0" i="0">
                <a:solidFill>
                  <a:schemeClr val="tx1"/>
                </a:solidFill>
                <a:latin typeface="+mj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600">
                <a:latin typeface="+mj-lt"/>
              </a:defRPr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400">
                <a:latin typeface="+mj-lt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3056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5769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latin typeface="+mj-lt"/>
              </a:defRPr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800" b="0" i="0">
                <a:solidFill>
                  <a:schemeClr val="tx1"/>
                </a:solidFill>
                <a:latin typeface="+mj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600">
                <a:latin typeface="+mj-lt"/>
              </a:defRPr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400">
                <a:latin typeface="+mj-lt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3056"/>
            <a:ext cx="10972800" cy="520090"/>
          </a:xfrm>
        </p:spPr>
        <p:txBody>
          <a:bodyPr tIns="0" bIns="0" anchor="b"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latin typeface="Trebuchet MS" panose="020B0603020202020204" pitchFamily="34" charset="0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3045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 anchor="ctr"/>
          <a:lstStyle>
            <a:lvl1pPr algn="l">
              <a:lnSpc>
                <a:spcPct val="9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 marL="228600" indent="-228600">
              <a:lnSpc>
                <a:spcPct val="11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 sz="2200"/>
            </a:lvl1pPr>
            <a:lvl2pPr marL="457200" indent="-228600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2000" b="0" i="0">
                <a:solidFill>
                  <a:schemeClr val="tx1"/>
                </a:solidFill>
                <a:latin typeface="+mn-lt"/>
              </a:defRPr>
            </a:lvl2pPr>
            <a:lvl3pPr marL="685800" indent="-228600">
              <a:lnSpc>
                <a:spcPct val="110000"/>
              </a:lnSpc>
              <a:buClr>
                <a:schemeClr val="tx1"/>
              </a:buClr>
              <a:buFont typeface="Wingdings" panose="05000000000000000000" pitchFamily="2" charset="2"/>
              <a:buChar char="§"/>
              <a:tabLst/>
              <a:defRPr sz="1800"/>
            </a:lvl3pPr>
            <a:lvl4pPr marL="857250" indent="-169863">
              <a:lnSpc>
                <a:spcPct val="110000"/>
              </a:lnSpc>
              <a:buClr>
                <a:schemeClr val="tx1"/>
              </a:buClr>
              <a:buFont typeface="Trebuchet MS" panose="020B0603020202020204" pitchFamily="34" charset="0"/>
              <a:buChar char="−"/>
              <a:tabLst/>
              <a:defRPr sz="16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382512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628446"/>
            <a:ext cx="2743200" cy="2295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C296A-C2CE-49F9-90EA-7EBDADB28B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516" y="6164581"/>
            <a:ext cx="10972800" cy="521208"/>
          </a:xfrm>
        </p:spPr>
        <p:txBody>
          <a:bodyPr tIns="0" bIns="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200"/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7251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vmlDrawing" Target="../drawings/vmlDrawing4.v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theme" Target="../theme/theme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oleObject" Target="../embeddings/oleObject4.bin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F08AC0-9153-4F86-8F2F-6E2599746F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499" imgH="499" progId="TCLayout.ActiveDocument.1">
                  <p:embed/>
                </p:oleObj>
              </mc:Choice>
              <mc:Fallback>
                <p:oleObj name="think-cell Slide" r:id="rId23" imgW="499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F08AC0-9153-4F86-8F2F-6E2599746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39D05C-44C4-4281-9E1D-CB70A44FAF0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07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Roboto" panose="02000000000000000000" pitchFamily="2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F08AC0-9153-4F86-8F2F-6E2599746F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3" imgW="499" imgH="499" progId="TCLayout.ActiveDocument.1">
                  <p:embed/>
                </p:oleObj>
              </mc:Choice>
              <mc:Fallback>
                <p:oleObj name="think-cell Slide" r:id="rId23" imgW="499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F08AC0-9153-4F86-8F2F-6E2599746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39D05C-44C4-4281-9E1D-CB70A44FAF0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17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Roboto" panose="02000000000000000000" pitchFamily="2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3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3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6" lvl="1" indent="0" algn="l" defTabSz="9144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44" lvl="2" indent="-169867" algn="l" defTabSz="9144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54" lvl="3" indent="-169867" algn="l" defTabSz="9144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547EB0-A566-95E9-733D-68422C7CE40A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3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1" r:id="rId25"/>
    <p:sldLayoutId id="2147483847" r:id="rId26"/>
  </p:sldLayoutIdLst>
  <p:hf hdr="0" ftr="0" dt="0"/>
  <p:txStyles>
    <p:titleStyle>
      <a:lvl1pPr algn="ctr" defTabSz="914422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Georgia" panose="02040502050405020303" pitchFamily="18" charset="0"/>
          <a:ea typeface="+mj-ea"/>
          <a:cs typeface="Georgia" panose="02040502050405020303" pitchFamily="18" charset="0"/>
        </a:defRPr>
      </a:lvl1pPr>
    </p:titleStyle>
    <p:bodyStyle>
      <a:lvl1pPr marL="0" indent="0" algn="l" defTabSz="914422" rtl="0" eaLnBrk="1" latinLnBrk="0" hangingPunct="1">
        <a:lnSpc>
          <a:spcPct val="114000"/>
        </a:lnSpc>
        <a:spcBef>
          <a:spcPts val="0"/>
        </a:spcBef>
        <a:spcAft>
          <a:spcPts val="601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21" indent="-174630" algn="l" defTabSz="914422" rtl="0" eaLnBrk="1" latinLnBrk="0" hangingPunct="1">
        <a:lnSpc>
          <a:spcPct val="114000"/>
        </a:lnSpc>
        <a:spcBef>
          <a:spcPts val="0"/>
        </a:spcBef>
        <a:spcAft>
          <a:spcPts val="601"/>
        </a:spcAft>
        <a:buFont typeface="Apple Symbols" panose="02000000000000000000" pitchFamily="2" charset="-79"/>
        <a:buChar char="⎼"/>
        <a:tabLst/>
        <a:defRPr lang="en-US" sz="1801" b="0" i="0" kern="1600" spc="-50" baseline="0" dirty="0">
          <a:solidFill>
            <a:schemeClr val="accent1"/>
          </a:solidFill>
          <a:latin typeface="Trebuchet MS" panose="020B0703020202090204" pitchFamily="34" charset="0"/>
          <a:ea typeface="+mn-ea"/>
          <a:cs typeface="+mn-cs"/>
        </a:defRPr>
      </a:lvl2pPr>
      <a:lvl3pPr marL="403235" indent="-285756" algn="l" defTabSz="914422" rtl="0" eaLnBrk="1" latinLnBrk="0" hangingPunct="1">
        <a:lnSpc>
          <a:spcPct val="114000"/>
        </a:lnSpc>
        <a:spcBef>
          <a:spcPts val="0"/>
        </a:spcBef>
        <a:spcAft>
          <a:spcPts val="601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46" indent="-285756" algn="l" defTabSz="914422" rtl="0" eaLnBrk="1" latinLnBrk="0" hangingPunct="1">
        <a:lnSpc>
          <a:spcPct val="114000"/>
        </a:lnSpc>
        <a:spcBef>
          <a:spcPts val="0"/>
        </a:spcBef>
        <a:spcAft>
          <a:spcPts val="601"/>
        </a:spcAft>
        <a:buFont typeface="Apple Symbols" panose="02000000000000000000" pitchFamily="2" charset="-79"/>
        <a:buChar char="⎼"/>
        <a:tabLst/>
        <a:defRPr lang="en-US" sz="1401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98" indent="-174630" algn="l" defTabSz="914422" rtl="0" eaLnBrk="1" latinLnBrk="0" hangingPunct="1">
        <a:lnSpc>
          <a:spcPct val="114000"/>
        </a:lnSpc>
        <a:spcBef>
          <a:spcPts val="0"/>
        </a:spcBef>
        <a:spcAft>
          <a:spcPts val="601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6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69299B-453D-41CE-BA1A-31C9DA3440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37" imgW="624" imgH="623" progId="TCLayout.ActiveDocument.1">
                  <p:embed/>
                </p:oleObj>
              </mc:Choice>
              <mc:Fallback>
                <p:oleObj name="think-cell Slide" r:id="rId37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69299B-453D-41CE-BA1A-31C9DA344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D5F85E-820A-42DE-BA6B-C22E0F83C8C6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9858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10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9" r:id="rId32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Georgia" panose="02040502050405020303" pitchFamily="18" charset="0"/>
          <a:ea typeface="+mj-ea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0" kern="1600" spc="-50" baseline="0" dirty="0">
          <a:solidFill>
            <a:schemeClr val="accent1"/>
          </a:solidFill>
          <a:latin typeface="Trebuchet MS" panose="020B0703020202090204" pitchFamily="34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Relationship Id="rId5" Type="http://schemas.openxmlformats.org/officeDocument/2006/relationships/hyperlink" Target="http://www.purposestudies.com/" TargetMode="Externa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8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urposestudies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8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F3A44-BB31-47BD-BE7C-E94C3B1668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6384" y="2402357"/>
            <a:ext cx="10979860" cy="23876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4800" dirty="0">
                <a:latin typeface="Trebuchet MS"/>
              </a:rPr>
              <a:t>Building bridges: Pregnant and lactating people in the lenacapavir HIV </a:t>
            </a:r>
            <a:r>
              <a:rPr lang="en-US" sz="4800" dirty="0" err="1">
                <a:latin typeface="Trebuchet MS"/>
              </a:rPr>
              <a:t>PrEP</a:t>
            </a:r>
            <a:r>
              <a:rPr lang="en-US" sz="4800" dirty="0">
                <a:latin typeface="Trebuchet MS"/>
              </a:rPr>
              <a:t> PURPOSE program</a:t>
            </a:r>
            <a:endParaRPr lang="en-US" sz="4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70FFAD-B55D-4A7B-A140-B09F4FB4BA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418" y="289896"/>
            <a:ext cx="5162464" cy="123418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17AA41B-52DA-4C18-92D7-4AD5EA5190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69160" y="1556118"/>
            <a:ext cx="4114800" cy="250902"/>
            <a:chOff x="396" y="1950"/>
            <a:chExt cx="6888" cy="42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F0E452A-01DD-4A09-A651-0851EB21EA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6" y="1977"/>
              <a:ext cx="313" cy="386"/>
            </a:xfrm>
            <a:custGeom>
              <a:avLst/>
              <a:gdLst>
                <a:gd name="T0" fmla="*/ 0 w 132"/>
                <a:gd name="T1" fmla="*/ 0 h 160"/>
                <a:gd name="T2" fmla="*/ 70 w 132"/>
                <a:gd name="T3" fmla="*/ 0 h 160"/>
                <a:gd name="T4" fmla="*/ 132 w 132"/>
                <a:gd name="T5" fmla="*/ 58 h 160"/>
                <a:gd name="T6" fmla="*/ 70 w 132"/>
                <a:gd name="T7" fmla="*/ 112 h 160"/>
                <a:gd name="T8" fmla="*/ 20 w 132"/>
                <a:gd name="T9" fmla="*/ 112 h 160"/>
                <a:gd name="T10" fmla="*/ 20 w 132"/>
                <a:gd name="T11" fmla="*/ 160 h 160"/>
                <a:gd name="T12" fmla="*/ 0 w 132"/>
                <a:gd name="T13" fmla="*/ 160 h 160"/>
                <a:gd name="T14" fmla="*/ 0 w 132"/>
                <a:gd name="T15" fmla="*/ 0 h 160"/>
                <a:gd name="T16" fmla="*/ 112 w 132"/>
                <a:gd name="T17" fmla="*/ 58 h 160"/>
                <a:gd name="T18" fmla="*/ 70 w 132"/>
                <a:gd name="T19" fmla="*/ 18 h 160"/>
                <a:gd name="T20" fmla="*/ 20 w 132"/>
                <a:gd name="T21" fmla="*/ 18 h 160"/>
                <a:gd name="T22" fmla="*/ 20 w 132"/>
                <a:gd name="T23" fmla="*/ 95 h 160"/>
                <a:gd name="T24" fmla="*/ 70 w 132"/>
                <a:gd name="T25" fmla="*/ 95 h 160"/>
                <a:gd name="T26" fmla="*/ 112 w 132"/>
                <a:gd name="T27" fmla="*/ 5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160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109" y="0"/>
                    <a:pt x="132" y="19"/>
                    <a:pt x="132" y="58"/>
                  </a:cubicBezTo>
                  <a:cubicBezTo>
                    <a:pt x="132" y="95"/>
                    <a:pt x="109" y="112"/>
                    <a:pt x="70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0" y="0"/>
                  </a:lnTo>
                  <a:close/>
                  <a:moveTo>
                    <a:pt x="112" y="58"/>
                  </a:moveTo>
                  <a:cubicBezTo>
                    <a:pt x="112" y="31"/>
                    <a:pt x="98" y="18"/>
                    <a:pt x="7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70" y="95"/>
                    <a:pt x="70" y="95"/>
                    <a:pt x="70" y="95"/>
                  </a:cubicBezTo>
                  <a:cubicBezTo>
                    <a:pt x="98" y="95"/>
                    <a:pt x="112" y="83"/>
                    <a:pt x="112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F89D7D9-69D9-4BC2-997C-F7FE237FF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" y="2097"/>
              <a:ext cx="173" cy="266"/>
            </a:xfrm>
            <a:custGeom>
              <a:avLst/>
              <a:gdLst>
                <a:gd name="T0" fmla="*/ 0 w 73"/>
                <a:gd name="T1" fmla="*/ 8 h 110"/>
                <a:gd name="T2" fmla="*/ 18 w 73"/>
                <a:gd name="T3" fmla="*/ 2 h 110"/>
                <a:gd name="T4" fmla="*/ 18 w 73"/>
                <a:gd name="T5" fmla="*/ 23 h 110"/>
                <a:gd name="T6" fmla="*/ 56 w 73"/>
                <a:gd name="T7" fmla="*/ 0 h 110"/>
                <a:gd name="T8" fmla="*/ 73 w 73"/>
                <a:gd name="T9" fmla="*/ 4 h 110"/>
                <a:gd name="T10" fmla="*/ 68 w 73"/>
                <a:gd name="T11" fmla="*/ 20 h 110"/>
                <a:gd name="T12" fmla="*/ 53 w 73"/>
                <a:gd name="T13" fmla="*/ 17 h 110"/>
                <a:gd name="T14" fmla="*/ 18 w 73"/>
                <a:gd name="T15" fmla="*/ 40 h 110"/>
                <a:gd name="T16" fmla="*/ 18 w 73"/>
                <a:gd name="T17" fmla="*/ 110 h 110"/>
                <a:gd name="T18" fmla="*/ 0 w 73"/>
                <a:gd name="T19" fmla="*/ 110 h 110"/>
                <a:gd name="T20" fmla="*/ 0 w 73"/>
                <a:gd name="T21" fmla="*/ 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110">
                  <a:moveTo>
                    <a:pt x="0" y="8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0"/>
                    <a:pt x="34" y="0"/>
                    <a:pt x="56" y="0"/>
                  </a:cubicBezTo>
                  <a:cubicBezTo>
                    <a:pt x="68" y="0"/>
                    <a:pt x="73" y="4"/>
                    <a:pt x="73" y="4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4" y="17"/>
                    <a:pt x="53" y="17"/>
                  </a:cubicBezTo>
                  <a:cubicBezTo>
                    <a:pt x="36" y="17"/>
                    <a:pt x="23" y="33"/>
                    <a:pt x="18" y="4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0" y="110"/>
                    <a:pt x="0" y="110"/>
                    <a:pt x="0" y="110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AE52648-42EA-479E-9AF9-3957E85984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3" y="2097"/>
              <a:ext cx="261" cy="273"/>
            </a:xfrm>
            <a:custGeom>
              <a:avLst/>
              <a:gdLst>
                <a:gd name="T0" fmla="*/ 60 w 110"/>
                <a:gd name="T1" fmla="*/ 97 h 113"/>
                <a:gd name="T2" fmla="*/ 99 w 110"/>
                <a:gd name="T3" fmla="*/ 84 h 113"/>
                <a:gd name="T4" fmla="*/ 104 w 110"/>
                <a:gd name="T5" fmla="*/ 97 h 113"/>
                <a:gd name="T6" fmla="*/ 60 w 110"/>
                <a:gd name="T7" fmla="*/ 113 h 113"/>
                <a:gd name="T8" fmla="*/ 0 w 110"/>
                <a:gd name="T9" fmla="*/ 57 h 113"/>
                <a:gd name="T10" fmla="*/ 59 w 110"/>
                <a:gd name="T11" fmla="*/ 0 h 113"/>
                <a:gd name="T12" fmla="*/ 110 w 110"/>
                <a:gd name="T13" fmla="*/ 48 h 113"/>
                <a:gd name="T14" fmla="*/ 108 w 110"/>
                <a:gd name="T15" fmla="*/ 63 h 113"/>
                <a:gd name="T16" fmla="*/ 19 w 110"/>
                <a:gd name="T17" fmla="*/ 63 h 113"/>
                <a:gd name="T18" fmla="*/ 60 w 110"/>
                <a:gd name="T19" fmla="*/ 97 h 113"/>
                <a:gd name="T20" fmla="*/ 92 w 110"/>
                <a:gd name="T21" fmla="*/ 47 h 113"/>
                <a:gd name="T22" fmla="*/ 59 w 110"/>
                <a:gd name="T23" fmla="*/ 16 h 113"/>
                <a:gd name="T24" fmla="*/ 19 w 110"/>
                <a:gd name="T25" fmla="*/ 49 h 113"/>
                <a:gd name="T26" fmla="*/ 92 w 110"/>
                <a:gd name="T27" fmla="*/ 49 h 113"/>
                <a:gd name="T28" fmla="*/ 92 w 110"/>
                <a:gd name="T29" fmla="*/ 4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113">
                  <a:moveTo>
                    <a:pt x="60" y="97"/>
                  </a:moveTo>
                  <a:cubicBezTo>
                    <a:pt x="84" y="97"/>
                    <a:pt x="99" y="84"/>
                    <a:pt x="99" y="84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97"/>
                    <a:pt x="88" y="113"/>
                    <a:pt x="60" y="113"/>
                  </a:cubicBezTo>
                  <a:cubicBezTo>
                    <a:pt x="19" y="113"/>
                    <a:pt x="0" y="87"/>
                    <a:pt x="0" y="57"/>
                  </a:cubicBezTo>
                  <a:cubicBezTo>
                    <a:pt x="0" y="26"/>
                    <a:pt x="19" y="0"/>
                    <a:pt x="59" y="0"/>
                  </a:cubicBezTo>
                  <a:cubicBezTo>
                    <a:pt x="100" y="0"/>
                    <a:pt x="110" y="32"/>
                    <a:pt x="110" y="48"/>
                  </a:cubicBezTo>
                  <a:cubicBezTo>
                    <a:pt x="110" y="57"/>
                    <a:pt x="108" y="63"/>
                    <a:pt x="108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22" y="83"/>
                    <a:pt x="35" y="97"/>
                    <a:pt x="60" y="97"/>
                  </a:cubicBezTo>
                  <a:close/>
                  <a:moveTo>
                    <a:pt x="92" y="47"/>
                  </a:moveTo>
                  <a:cubicBezTo>
                    <a:pt x="92" y="31"/>
                    <a:pt x="82" y="16"/>
                    <a:pt x="59" y="16"/>
                  </a:cubicBezTo>
                  <a:cubicBezTo>
                    <a:pt x="35" y="16"/>
                    <a:pt x="22" y="30"/>
                    <a:pt x="19" y="49"/>
                  </a:cubicBezTo>
                  <a:cubicBezTo>
                    <a:pt x="92" y="49"/>
                    <a:pt x="92" y="49"/>
                    <a:pt x="92" y="49"/>
                  </a:cubicBezTo>
                  <a:lnTo>
                    <a:pt x="9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9EDD4C6-F907-46CB-AA23-832289C1E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2" y="2104"/>
              <a:ext cx="273" cy="259"/>
            </a:xfrm>
            <a:custGeom>
              <a:avLst/>
              <a:gdLst>
                <a:gd name="T0" fmla="*/ 0 w 273"/>
                <a:gd name="T1" fmla="*/ 0 h 259"/>
                <a:gd name="T2" fmla="*/ 48 w 273"/>
                <a:gd name="T3" fmla="*/ 0 h 259"/>
                <a:gd name="T4" fmla="*/ 138 w 273"/>
                <a:gd name="T5" fmla="*/ 211 h 259"/>
                <a:gd name="T6" fmla="*/ 226 w 273"/>
                <a:gd name="T7" fmla="*/ 0 h 259"/>
                <a:gd name="T8" fmla="*/ 273 w 273"/>
                <a:gd name="T9" fmla="*/ 0 h 259"/>
                <a:gd name="T10" fmla="*/ 159 w 273"/>
                <a:gd name="T11" fmla="*/ 259 h 259"/>
                <a:gd name="T12" fmla="*/ 114 w 273"/>
                <a:gd name="T13" fmla="*/ 259 h 259"/>
                <a:gd name="T14" fmla="*/ 0 w 273"/>
                <a:gd name="T15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3" h="259">
                  <a:moveTo>
                    <a:pt x="0" y="0"/>
                  </a:moveTo>
                  <a:lnTo>
                    <a:pt x="48" y="0"/>
                  </a:lnTo>
                  <a:lnTo>
                    <a:pt x="138" y="211"/>
                  </a:lnTo>
                  <a:lnTo>
                    <a:pt x="226" y="0"/>
                  </a:lnTo>
                  <a:lnTo>
                    <a:pt x="273" y="0"/>
                  </a:lnTo>
                  <a:lnTo>
                    <a:pt x="159" y="259"/>
                  </a:lnTo>
                  <a:lnTo>
                    <a:pt x="114" y="25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B9FF877-12DD-486C-B3BA-3415F46A0D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54" y="2097"/>
              <a:ext cx="261" cy="273"/>
            </a:xfrm>
            <a:custGeom>
              <a:avLst/>
              <a:gdLst>
                <a:gd name="T0" fmla="*/ 60 w 110"/>
                <a:gd name="T1" fmla="*/ 97 h 113"/>
                <a:gd name="T2" fmla="*/ 99 w 110"/>
                <a:gd name="T3" fmla="*/ 84 h 113"/>
                <a:gd name="T4" fmla="*/ 104 w 110"/>
                <a:gd name="T5" fmla="*/ 97 h 113"/>
                <a:gd name="T6" fmla="*/ 60 w 110"/>
                <a:gd name="T7" fmla="*/ 113 h 113"/>
                <a:gd name="T8" fmla="*/ 0 w 110"/>
                <a:gd name="T9" fmla="*/ 57 h 113"/>
                <a:gd name="T10" fmla="*/ 58 w 110"/>
                <a:gd name="T11" fmla="*/ 0 h 113"/>
                <a:gd name="T12" fmla="*/ 110 w 110"/>
                <a:gd name="T13" fmla="*/ 48 h 113"/>
                <a:gd name="T14" fmla="*/ 107 w 110"/>
                <a:gd name="T15" fmla="*/ 63 h 113"/>
                <a:gd name="T16" fmla="*/ 19 w 110"/>
                <a:gd name="T17" fmla="*/ 63 h 113"/>
                <a:gd name="T18" fmla="*/ 60 w 110"/>
                <a:gd name="T19" fmla="*/ 97 h 113"/>
                <a:gd name="T20" fmla="*/ 92 w 110"/>
                <a:gd name="T21" fmla="*/ 47 h 113"/>
                <a:gd name="T22" fmla="*/ 58 w 110"/>
                <a:gd name="T23" fmla="*/ 16 h 113"/>
                <a:gd name="T24" fmla="*/ 19 w 110"/>
                <a:gd name="T25" fmla="*/ 49 h 113"/>
                <a:gd name="T26" fmla="*/ 92 w 110"/>
                <a:gd name="T27" fmla="*/ 49 h 113"/>
                <a:gd name="T28" fmla="*/ 92 w 110"/>
                <a:gd name="T29" fmla="*/ 4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113">
                  <a:moveTo>
                    <a:pt x="60" y="97"/>
                  </a:moveTo>
                  <a:cubicBezTo>
                    <a:pt x="84" y="97"/>
                    <a:pt x="99" y="84"/>
                    <a:pt x="99" y="84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97"/>
                    <a:pt x="88" y="113"/>
                    <a:pt x="60" y="113"/>
                  </a:cubicBezTo>
                  <a:cubicBezTo>
                    <a:pt x="19" y="113"/>
                    <a:pt x="0" y="87"/>
                    <a:pt x="0" y="57"/>
                  </a:cubicBezTo>
                  <a:cubicBezTo>
                    <a:pt x="0" y="26"/>
                    <a:pt x="19" y="0"/>
                    <a:pt x="58" y="0"/>
                  </a:cubicBezTo>
                  <a:cubicBezTo>
                    <a:pt x="99" y="0"/>
                    <a:pt x="110" y="32"/>
                    <a:pt x="110" y="48"/>
                  </a:cubicBezTo>
                  <a:cubicBezTo>
                    <a:pt x="110" y="57"/>
                    <a:pt x="107" y="63"/>
                    <a:pt x="107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22" y="83"/>
                    <a:pt x="35" y="97"/>
                    <a:pt x="60" y="97"/>
                  </a:cubicBezTo>
                  <a:close/>
                  <a:moveTo>
                    <a:pt x="92" y="47"/>
                  </a:moveTo>
                  <a:cubicBezTo>
                    <a:pt x="92" y="31"/>
                    <a:pt x="82" y="16"/>
                    <a:pt x="58" y="16"/>
                  </a:cubicBezTo>
                  <a:cubicBezTo>
                    <a:pt x="35" y="16"/>
                    <a:pt x="22" y="30"/>
                    <a:pt x="19" y="49"/>
                  </a:cubicBezTo>
                  <a:cubicBezTo>
                    <a:pt x="92" y="49"/>
                    <a:pt x="92" y="49"/>
                    <a:pt x="92" y="49"/>
                  </a:cubicBezTo>
                  <a:lnTo>
                    <a:pt x="9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908814D-94BD-4642-B795-0FD6BBCF91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79" y="2097"/>
              <a:ext cx="292" cy="268"/>
            </a:xfrm>
            <a:custGeom>
              <a:avLst/>
              <a:gdLst>
                <a:gd name="T0" fmla="*/ 98 w 123"/>
                <a:gd name="T1" fmla="*/ 111 h 111"/>
                <a:gd name="T2" fmla="*/ 80 w 123"/>
                <a:gd name="T3" fmla="*/ 91 h 111"/>
                <a:gd name="T4" fmla="*/ 80 w 123"/>
                <a:gd name="T5" fmla="*/ 43 h 111"/>
                <a:gd name="T6" fmla="*/ 55 w 123"/>
                <a:gd name="T7" fmla="*/ 17 h 111"/>
                <a:gd name="T8" fmla="*/ 18 w 123"/>
                <a:gd name="T9" fmla="*/ 33 h 111"/>
                <a:gd name="T10" fmla="*/ 18 w 123"/>
                <a:gd name="T11" fmla="*/ 110 h 111"/>
                <a:gd name="T12" fmla="*/ 0 w 123"/>
                <a:gd name="T13" fmla="*/ 110 h 111"/>
                <a:gd name="T14" fmla="*/ 0 w 123"/>
                <a:gd name="T15" fmla="*/ 8 h 111"/>
                <a:gd name="T16" fmla="*/ 18 w 123"/>
                <a:gd name="T17" fmla="*/ 2 h 111"/>
                <a:gd name="T18" fmla="*/ 18 w 123"/>
                <a:gd name="T19" fmla="*/ 18 h 111"/>
                <a:gd name="T20" fmla="*/ 59 w 123"/>
                <a:gd name="T21" fmla="*/ 0 h 111"/>
                <a:gd name="T22" fmla="*/ 98 w 123"/>
                <a:gd name="T23" fmla="*/ 40 h 111"/>
                <a:gd name="T24" fmla="*/ 98 w 123"/>
                <a:gd name="T25" fmla="*/ 90 h 111"/>
                <a:gd name="T26" fmla="*/ 103 w 123"/>
                <a:gd name="T27" fmla="*/ 97 h 111"/>
                <a:gd name="T28" fmla="*/ 119 w 123"/>
                <a:gd name="T29" fmla="*/ 93 h 111"/>
                <a:gd name="T30" fmla="*/ 123 w 123"/>
                <a:gd name="T31" fmla="*/ 104 h 111"/>
                <a:gd name="T32" fmla="*/ 98 w 123"/>
                <a:gd name="T3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111">
                  <a:moveTo>
                    <a:pt x="98" y="111"/>
                  </a:moveTo>
                  <a:cubicBezTo>
                    <a:pt x="85" y="111"/>
                    <a:pt x="80" y="105"/>
                    <a:pt x="80" y="91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25"/>
                    <a:pt x="73" y="17"/>
                    <a:pt x="55" y="17"/>
                  </a:cubicBezTo>
                  <a:cubicBezTo>
                    <a:pt x="37" y="17"/>
                    <a:pt x="23" y="28"/>
                    <a:pt x="18" y="33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20" y="16"/>
                    <a:pt x="35" y="0"/>
                    <a:pt x="59" y="0"/>
                  </a:cubicBezTo>
                  <a:cubicBezTo>
                    <a:pt x="85" y="0"/>
                    <a:pt x="98" y="15"/>
                    <a:pt x="98" y="4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8" y="95"/>
                    <a:pt x="100" y="97"/>
                    <a:pt x="103" y="97"/>
                  </a:cubicBezTo>
                  <a:cubicBezTo>
                    <a:pt x="110" y="97"/>
                    <a:pt x="119" y="93"/>
                    <a:pt x="119" y="93"/>
                  </a:cubicBezTo>
                  <a:cubicBezTo>
                    <a:pt x="123" y="104"/>
                    <a:pt x="123" y="104"/>
                    <a:pt x="123" y="104"/>
                  </a:cubicBezTo>
                  <a:cubicBezTo>
                    <a:pt x="123" y="104"/>
                    <a:pt x="113" y="111"/>
                    <a:pt x="98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0E4D0C9A-094B-4C02-82CE-7AF52B521F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5" y="2027"/>
              <a:ext cx="194" cy="343"/>
            </a:xfrm>
            <a:custGeom>
              <a:avLst/>
              <a:gdLst>
                <a:gd name="T0" fmla="*/ 55 w 82"/>
                <a:gd name="T1" fmla="*/ 142 h 142"/>
                <a:gd name="T2" fmla="*/ 19 w 82"/>
                <a:gd name="T3" fmla="*/ 106 h 142"/>
                <a:gd name="T4" fmla="*/ 19 w 82"/>
                <a:gd name="T5" fmla="*/ 48 h 142"/>
                <a:gd name="T6" fmla="*/ 0 w 82"/>
                <a:gd name="T7" fmla="*/ 48 h 142"/>
                <a:gd name="T8" fmla="*/ 4 w 82"/>
                <a:gd name="T9" fmla="*/ 32 h 142"/>
                <a:gd name="T10" fmla="*/ 19 w 82"/>
                <a:gd name="T11" fmla="*/ 32 h 142"/>
                <a:gd name="T12" fmla="*/ 19 w 82"/>
                <a:gd name="T13" fmla="*/ 6 h 142"/>
                <a:gd name="T14" fmla="*/ 37 w 82"/>
                <a:gd name="T15" fmla="*/ 0 h 142"/>
                <a:gd name="T16" fmla="*/ 37 w 82"/>
                <a:gd name="T17" fmla="*/ 32 h 142"/>
                <a:gd name="T18" fmla="*/ 77 w 82"/>
                <a:gd name="T19" fmla="*/ 32 h 142"/>
                <a:gd name="T20" fmla="*/ 77 w 82"/>
                <a:gd name="T21" fmla="*/ 48 h 142"/>
                <a:gd name="T22" fmla="*/ 37 w 82"/>
                <a:gd name="T23" fmla="*/ 48 h 142"/>
                <a:gd name="T24" fmla="*/ 37 w 82"/>
                <a:gd name="T25" fmla="*/ 107 h 142"/>
                <a:gd name="T26" fmla="*/ 56 w 82"/>
                <a:gd name="T27" fmla="*/ 126 h 142"/>
                <a:gd name="T28" fmla="*/ 75 w 82"/>
                <a:gd name="T29" fmla="*/ 120 h 142"/>
                <a:gd name="T30" fmla="*/ 82 w 82"/>
                <a:gd name="T31" fmla="*/ 133 h 142"/>
                <a:gd name="T32" fmla="*/ 55 w 82"/>
                <a:gd name="T3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142">
                  <a:moveTo>
                    <a:pt x="55" y="142"/>
                  </a:moveTo>
                  <a:cubicBezTo>
                    <a:pt x="33" y="142"/>
                    <a:pt x="19" y="132"/>
                    <a:pt x="19" y="106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20"/>
                    <a:pt x="43" y="126"/>
                    <a:pt x="56" y="126"/>
                  </a:cubicBezTo>
                  <a:cubicBezTo>
                    <a:pt x="68" y="126"/>
                    <a:pt x="75" y="120"/>
                    <a:pt x="75" y="120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2" y="133"/>
                    <a:pt x="71" y="142"/>
                    <a:pt x="55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2664532-B1C8-4C27-A757-EE026AA957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17" y="1993"/>
              <a:ext cx="64" cy="370"/>
            </a:xfrm>
            <a:custGeom>
              <a:avLst/>
              <a:gdLst>
                <a:gd name="T0" fmla="*/ 14 w 27"/>
                <a:gd name="T1" fmla="*/ 27 h 153"/>
                <a:gd name="T2" fmla="*/ 0 w 27"/>
                <a:gd name="T3" fmla="*/ 14 h 153"/>
                <a:gd name="T4" fmla="*/ 14 w 27"/>
                <a:gd name="T5" fmla="*/ 0 h 153"/>
                <a:gd name="T6" fmla="*/ 27 w 27"/>
                <a:gd name="T7" fmla="*/ 14 h 153"/>
                <a:gd name="T8" fmla="*/ 14 w 27"/>
                <a:gd name="T9" fmla="*/ 27 h 153"/>
                <a:gd name="T10" fmla="*/ 5 w 27"/>
                <a:gd name="T11" fmla="*/ 46 h 153"/>
                <a:gd name="T12" fmla="*/ 23 w 27"/>
                <a:gd name="T13" fmla="*/ 46 h 153"/>
                <a:gd name="T14" fmla="*/ 23 w 27"/>
                <a:gd name="T15" fmla="*/ 153 h 153"/>
                <a:gd name="T16" fmla="*/ 5 w 27"/>
                <a:gd name="T17" fmla="*/ 153 h 153"/>
                <a:gd name="T18" fmla="*/ 5 w 27"/>
                <a:gd name="T19" fmla="*/ 4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153">
                  <a:moveTo>
                    <a:pt x="14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4"/>
                  </a:cubicBezTo>
                  <a:cubicBezTo>
                    <a:pt x="27" y="21"/>
                    <a:pt x="21" y="27"/>
                    <a:pt x="14" y="27"/>
                  </a:cubicBezTo>
                  <a:close/>
                  <a:moveTo>
                    <a:pt x="5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5" y="153"/>
                    <a:pt x="5" y="153"/>
                    <a:pt x="5" y="153"/>
                  </a:cubicBezTo>
                  <a:lnTo>
                    <a:pt x="5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2B24FA8-9C9A-4F18-8835-DE460040FC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1" y="2097"/>
              <a:ext cx="280" cy="273"/>
            </a:xfrm>
            <a:custGeom>
              <a:avLst/>
              <a:gdLst>
                <a:gd name="T0" fmla="*/ 59 w 118"/>
                <a:gd name="T1" fmla="*/ 113 h 113"/>
                <a:gd name="T2" fmla="*/ 0 w 118"/>
                <a:gd name="T3" fmla="*/ 57 h 113"/>
                <a:gd name="T4" fmla="*/ 59 w 118"/>
                <a:gd name="T5" fmla="*/ 0 h 113"/>
                <a:gd name="T6" fmla="*/ 118 w 118"/>
                <a:gd name="T7" fmla="*/ 57 h 113"/>
                <a:gd name="T8" fmla="*/ 59 w 118"/>
                <a:gd name="T9" fmla="*/ 113 h 113"/>
                <a:gd name="T10" fmla="*/ 100 w 118"/>
                <a:gd name="T11" fmla="*/ 57 h 113"/>
                <a:gd name="T12" fmla="*/ 59 w 118"/>
                <a:gd name="T13" fmla="*/ 16 h 113"/>
                <a:gd name="T14" fmla="*/ 18 w 118"/>
                <a:gd name="T15" fmla="*/ 57 h 113"/>
                <a:gd name="T16" fmla="*/ 59 w 118"/>
                <a:gd name="T17" fmla="*/ 97 h 113"/>
                <a:gd name="T18" fmla="*/ 100 w 118"/>
                <a:gd name="T19" fmla="*/ 5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3">
                  <a:moveTo>
                    <a:pt x="59" y="113"/>
                  </a:moveTo>
                  <a:cubicBezTo>
                    <a:pt x="19" y="113"/>
                    <a:pt x="0" y="87"/>
                    <a:pt x="0" y="57"/>
                  </a:cubicBezTo>
                  <a:cubicBezTo>
                    <a:pt x="0" y="26"/>
                    <a:pt x="19" y="0"/>
                    <a:pt x="59" y="0"/>
                  </a:cubicBezTo>
                  <a:cubicBezTo>
                    <a:pt x="99" y="0"/>
                    <a:pt x="118" y="26"/>
                    <a:pt x="118" y="57"/>
                  </a:cubicBezTo>
                  <a:cubicBezTo>
                    <a:pt x="118" y="87"/>
                    <a:pt x="99" y="113"/>
                    <a:pt x="59" y="113"/>
                  </a:cubicBezTo>
                  <a:close/>
                  <a:moveTo>
                    <a:pt x="100" y="57"/>
                  </a:moveTo>
                  <a:cubicBezTo>
                    <a:pt x="100" y="34"/>
                    <a:pt x="86" y="16"/>
                    <a:pt x="59" y="16"/>
                  </a:cubicBezTo>
                  <a:cubicBezTo>
                    <a:pt x="32" y="16"/>
                    <a:pt x="18" y="34"/>
                    <a:pt x="18" y="57"/>
                  </a:cubicBezTo>
                  <a:cubicBezTo>
                    <a:pt x="18" y="80"/>
                    <a:pt x="32" y="97"/>
                    <a:pt x="59" y="97"/>
                  </a:cubicBezTo>
                  <a:cubicBezTo>
                    <a:pt x="86" y="97"/>
                    <a:pt x="100" y="80"/>
                    <a:pt x="10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8906835-F551-4ACE-9042-42D07876D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7" y="2097"/>
              <a:ext cx="292" cy="268"/>
            </a:xfrm>
            <a:custGeom>
              <a:avLst/>
              <a:gdLst>
                <a:gd name="T0" fmla="*/ 98 w 123"/>
                <a:gd name="T1" fmla="*/ 111 h 111"/>
                <a:gd name="T2" fmla="*/ 80 w 123"/>
                <a:gd name="T3" fmla="*/ 91 h 111"/>
                <a:gd name="T4" fmla="*/ 80 w 123"/>
                <a:gd name="T5" fmla="*/ 43 h 111"/>
                <a:gd name="T6" fmla="*/ 56 w 123"/>
                <a:gd name="T7" fmla="*/ 17 h 111"/>
                <a:gd name="T8" fmla="*/ 18 w 123"/>
                <a:gd name="T9" fmla="*/ 33 h 111"/>
                <a:gd name="T10" fmla="*/ 18 w 123"/>
                <a:gd name="T11" fmla="*/ 110 h 111"/>
                <a:gd name="T12" fmla="*/ 0 w 123"/>
                <a:gd name="T13" fmla="*/ 110 h 111"/>
                <a:gd name="T14" fmla="*/ 0 w 123"/>
                <a:gd name="T15" fmla="*/ 8 h 111"/>
                <a:gd name="T16" fmla="*/ 18 w 123"/>
                <a:gd name="T17" fmla="*/ 2 h 111"/>
                <a:gd name="T18" fmla="*/ 18 w 123"/>
                <a:gd name="T19" fmla="*/ 18 h 111"/>
                <a:gd name="T20" fmla="*/ 60 w 123"/>
                <a:gd name="T21" fmla="*/ 0 h 111"/>
                <a:gd name="T22" fmla="*/ 99 w 123"/>
                <a:gd name="T23" fmla="*/ 40 h 111"/>
                <a:gd name="T24" fmla="*/ 99 w 123"/>
                <a:gd name="T25" fmla="*/ 90 h 111"/>
                <a:gd name="T26" fmla="*/ 104 w 123"/>
                <a:gd name="T27" fmla="*/ 97 h 111"/>
                <a:gd name="T28" fmla="*/ 119 w 123"/>
                <a:gd name="T29" fmla="*/ 93 h 111"/>
                <a:gd name="T30" fmla="*/ 123 w 123"/>
                <a:gd name="T31" fmla="*/ 104 h 111"/>
                <a:gd name="T32" fmla="*/ 98 w 123"/>
                <a:gd name="T3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111">
                  <a:moveTo>
                    <a:pt x="98" y="111"/>
                  </a:moveTo>
                  <a:cubicBezTo>
                    <a:pt x="86" y="111"/>
                    <a:pt x="80" y="105"/>
                    <a:pt x="80" y="91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25"/>
                    <a:pt x="74" y="17"/>
                    <a:pt x="56" y="17"/>
                  </a:cubicBezTo>
                  <a:cubicBezTo>
                    <a:pt x="37" y="17"/>
                    <a:pt x="24" y="28"/>
                    <a:pt x="18" y="33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21" y="16"/>
                    <a:pt x="36" y="0"/>
                    <a:pt x="60" y="0"/>
                  </a:cubicBezTo>
                  <a:cubicBezTo>
                    <a:pt x="86" y="0"/>
                    <a:pt x="99" y="15"/>
                    <a:pt x="99" y="4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99" y="95"/>
                    <a:pt x="100" y="97"/>
                    <a:pt x="104" y="97"/>
                  </a:cubicBezTo>
                  <a:cubicBezTo>
                    <a:pt x="110" y="97"/>
                    <a:pt x="119" y="93"/>
                    <a:pt x="119" y="93"/>
                  </a:cubicBezTo>
                  <a:cubicBezTo>
                    <a:pt x="123" y="104"/>
                    <a:pt x="123" y="104"/>
                    <a:pt x="123" y="104"/>
                  </a:cubicBezTo>
                  <a:cubicBezTo>
                    <a:pt x="123" y="104"/>
                    <a:pt x="113" y="111"/>
                    <a:pt x="98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CE551764-91F4-477F-857C-21E542633D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4" y="2104"/>
              <a:ext cx="409" cy="259"/>
            </a:xfrm>
            <a:custGeom>
              <a:avLst/>
              <a:gdLst>
                <a:gd name="T0" fmla="*/ 202 w 409"/>
                <a:gd name="T1" fmla="*/ 54 h 259"/>
                <a:gd name="T2" fmla="*/ 143 w 409"/>
                <a:gd name="T3" fmla="*/ 259 h 259"/>
                <a:gd name="T4" fmla="*/ 95 w 409"/>
                <a:gd name="T5" fmla="*/ 259 h 259"/>
                <a:gd name="T6" fmla="*/ 0 w 409"/>
                <a:gd name="T7" fmla="*/ 0 h 259"/>
                <a:gd name="T8" fmla="*/ 45 w 409"/>
                <a:gd name="T9" fmla="*/ 0 h 259"/>
                <a:gd name="T10" fmla="*/ 119 w 409"/>
                <a:gd name="T11" fmla="*/ 211 h 259"/>
                <a:gd name="T12" fmla="*/ 178 w 409"/>
                <a:gd name="T13" fmla="*/ 0 h 259"/>
                <a:gd name="T14" fmla="*/ 226 w 409"/>
                <a:gd name="T15" fmla="*/ 0 h 259"/>
                <a:gd name="T16" fmla="*/ 288 w 409"/>
                <a:gd name="T17" fmla="*/ 213 h 259"/>
                <a:gd name="T18" fmla="*/ 361 w 409"/>
                <a:gd name="T19" fmla="*/ 0 h 259"/>
                <a:gd name="T20" fmla="*/ 409 w 409"/>
                <a:gd name="T21" fmla="*/ 0 h 259"/>
                <a:gd name="T22" fmla="*/ 311 w 409"/>
                <a:gd name="T23" fmla="*/ 259 h 259"/>
                <a:gd name="T24" fmla="*/ 264 w 409"/>
                <a:gd name="T25" fmla="*/ 259 h 259"/>
                <a:gd name="T26" fmla="*/ 202 w 409"/>
                <a:gd name="T27" fmla="*/ 54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9" h="259">
                  <a:moveTo>
                    <a:pt x="202" y="54"/>
                  </a:moveTo>
                  <a:lnTo>
                    <a:pt x="143" y="259"/>
                  </a:lnTo>
                  <a:lnTo>
                    <a:pt x="95" y="259"/>
                  </a:lnTo>
                  <a:lnTo>
                    <a:pt x="0" y="0"/>
                  </a:lnTo>
                  <a:lnTo>
                    <a:pt x="45" y="0"/>
                  </a:lnTo>
                  <a:lnTo>
                    <a:pt x="119" y="211"/>
                  </a:lnTo>
                  <a:lnTo>
                    <a:pt x="178" y="0"/>
                  </a:lnTo>
                  <a:lnTo>
                    <a:pt x="226" y="0"/>
                  </a:lnTo>
                  <a:lnTo>
                    <a:pt x="288" y="213"/>
                  </a:lnTo>
                  <a:lnTo>
                    <a:pt x="361" y="0"/>
                  </a:lnTo>
                  <a:lnTo>
                    <a:pt x="409" y="0"/>
                  </a:lnTo>
                  <a:lnTo>
                    <a:pt x="311" y="259"/>
                  </a:lnTo>
                  <a:lnTo>
                    <a:pt x="264" y="259"/>
                  </a:lnTo>
                  <a:lnTo>
                    <a:pt x="202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617EB96-248C-4C28-8342-A23BF58E23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8" y="1993"/>
              <a:ext cx="64" cy="370"/>
            </a:xfrm>
            <a:custGeom>
              <a:avLst/>
              <a:gdLst>
                <a:gd name="T0" fmla="*/ 13 w 27"/>
                <a:gd name="T1" fmla="*/ 27 h 153"/>
                <a:gd name="T2" fmla="*/ 0 w 27"/>
                <a:gd name="T3" fmla="*/ 14 h 153"/>
                <a:gd name="T4" fmla="*/ 13 w 27"/>
                <a:gd name="T5" fmla="*/ 0 h 153"/>
                <a:gd name="T6" fmla="*/ 27 w 27"/>
                <a:gd name="T7" fmla="*/ 14 h 153"/>
                <a:gd name="T8" fmla="*/ 13 w 27"/>
                <a:gd name="T9" fmla="*/ 27 h 153"/>
                <a:gd name="T10" fmla="*/ 5 w 27"/>
                <a:gd name="T11" fmla="*/ 46 h 153"/>
                <a:gd name="T12" fmla="*/ 23 w 27"/>
                <a:gd name="T13" fmla="*/ 46 h 153"/>
                <a:gd name="T14" fmla="*/ 23 w 27"/>
                <a:gd name="T15" fmla="*/ 153 h 153"/>
                <a:gd name="T16" fmla="*/ 5 w 27"/>
                <a:gd name="T17" fmla="*/ 153 h 153"/>
                <a:gd name="T18" fmla="*/ 5 w 27"/>
                <a:gd name="T19" fmla="*/ 4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153">
                  <a:moveTo>
                    <a:pt x="13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" y="0"/>
                    <a:pt x="27" y="6"/>
                    <a:pt x="27" y="14"/>
                  </a:cubicBezTo>
                  <a:cubicBezTo>
                    <a:pt x="27" y="21"/>
                    <a:pt x="21" y="27"/>
                    <a:pt x="13" y="27"/>
                  </a:cubicBezTo>
                  <a:close/>
                  <a:moveTo>
                    <a:pt x="5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5" y="153"/>
                    <a:pt x="5" y="153"/>
                    <a:pt x="5" y="153"/>
                  </a:cubicBezTo>
                  <a:lnTo>
                    <a:pt x="5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C83C030-39C3-4FE0-80B6-FC223A2B4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9" y="2027"/>
              <a:ext cx="195" cy="343"/>
            </a:xfrm>
            <a:custGeom>
              <a:avLst/>
              <a:gdLst>
                <a:gd name="T0" fmla="*/ 55 w 82"/>
                <a:gd name="T1" fmla="*/ 142 h 142"/>
                <a:gd name="T2" fmla="*/ 19 w 82"/>
                <a:gd name="T3" fmla="*/ 106 h 142"/>
                <a:gd name="T4" fmla="*/ 19 w 82"/>
                <a:gd name="T5" fmla="*/ 48 h 142"/>
                <a:gd name="T6" fmla="*/ 0 w 82"/>
                <a:gd name="T7" fmla="*/ 48 h 142"/>
                <a:gd name="T8" fmla="*/ 4 w 82"/>
                <a:gd name="T9" fmla="*/ 32 h 142"/>
                <a:gd name="T10" fmla="*/ 19 w 82"/>
                <a:gd name="T11" fmla="*/ 32 h 142"/>
                <a:gd name="T12" fmla="*/ 19 w 82"/>
                <a:gd name="T13" fmla="*/ 6 h 142"/>
                <a:gd name="T14" fmla="*/ 37 w 82"/>
                <a:gd name="T15" fmla="*/ 0 h 142"/>
                <a:gd name="T16" fmla="*/ 37 w 82"/>
                <a:gd name="T17" fmla="*/ 32 h 142"/>
                <a:gd name="T18" fmla="*/ 76 w 82"/>
                <a:gd name="T19" fmla="*/ 32 h 142"/>
                <a:gd name="T20" fmla="*/ 76 w 82"/>
                <a:gd name="T21" fmla="*/ 48 h 142"/>
                <a:gd name="T22" fmla="*/ 37 w 82"/>
                <a:gd name="T23" fmla="*/ 48 h 142"/>
                <a:gd name="T24" fmla="*/ 37 w 82"/>
                <a:gd name="T25" fmla="*/ 107 h 142"/>
                <a:gd name="T26" fmla="*/ 55 w 82"/>
                <a:gd name="T27" fmla="*/ 126 h 142"/>
                <a:gd name="T28" fmla="*/ 75 w 82"/>
                <a:gd name="T29" fmla="*/ 120 h 142"/>
                <a:gd name="T30" fmla="*/ 82 w 82"/>
                <a:gd name="T31" fmla="*/ 133 h 142"/>
                <a:gd name="T32" fmla="*/ 55 w 82"/>
                <a:gd name="T3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142">
                  <a:moveTo>
                    <a:pt x="55" y="142"/>
                  </a:moveTo>
                  <a:cubicBezTo>
                    <a:pt x="32" y="142"/>
                    <a:pt x="19" y="132"/>
                    <a:pt x="19" y="106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20"/>
                    <a:pt x="43" y="126"/>
                    <a:pt x="55" y="126"/>
                  </a:cubicBezTo>
                  <a:cubicBezTo>
                    <a:pt x="68" y="126"/>
                    <a:pt x="75" y="120"/>
                    <a:pt x="75" y="120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2" y="133"/>
                    <a:pt x="71" y="142"/>
                    <a:pt x="55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01BDA8D-B393-4FF9-B3C5-E06C90D32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4" y="1950"/>
              <a:ext cx="291" cy="415"/>
            </a:xfrm>
            <a:custGeom>
              <a:avLst/>
              <a:gdLst>
                <a:gd name="T0" fmla="*/ 98 w 123"/>
                <a:gd name="T1" fmla="*/ 172 h 172"/>
                <a:gd name="T2" fmla="*/ 80 w 123"/>
                <a:gd name="T3" fmla="*/ 152 h 172"/>
                <a:gd name="T4" fmla="*/ 80 w 123"/>
                <a:gd name="T5" fmla="*/ 104 h 172"/>
                <a:gd name="T6" fmla="*/ 56 w 123"/>
                <a:gd name="T7" fmla="*/ 77 h 172"/>
                <a:gd name="T8" fmla="*/ 18 w 123"/>
                <a:gd name="T9" fmla="*/ 94 h 172"/>
                <a:gd name="T10" fmla="*/ 18 w 123"/>
                <a:gd name="T11" fmla="*/ 171 h 172"/>
                <a:gd name="T12" fmla="*/ 0 w 123"/>
                <a:gd name="T13" fmla="*/ 171 h 172"/>
                <a:gd name="T14" fmla="*/ 0 w 123"/>
                <a:gd name="T15" fmla="*/ 6 h 172"/>
                <a:gd name="T16" fmla="*/ 18 w 123"/>
                <a:gd name="T17" fmla="*/ 0 h 172"/>
                <a:gd name="T18" fmla="*/ 18 w 123"/>
                <a:gd name="T19" fmla="*/ 79 h 172"/>
                <a:gd name="T20" fmla="*/ 59 w 123"/>
                <a:gd name="T21" fmla="*/ 61 h 172"/>
                <a:gd name="T22" fmla="*/ 98 w 123"/>
                <a:gd name="T23" fmla="*/ 101 h 172"/>
                <a:gd name="T24" fmla="*/ 98 w 123"/>
                <a:gd name="T25" fmla="*/ 151 h 172"/>
                <a:gd name="T26" fmla="*/ 104 w 123"/>
                <a:gd name="T27" fmla="*/ 158 h 172"/>
                <a:gd name="T28" fmla="*/ 119 w 123"/>
                <a:gd name="T29" fmla="*/ 154 h 172"/>
                <a:gd name="T30" fmla="*/ 123 w 123"/>
                <a:gd name="T31" fmla="*/ 165 h 172"/>
                <a:gd name="T32" fmla="*/ 98 w 123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172">
                  <a:moveTo>
                    <a:pt x="98" y="172"/>
                  </a:moveTo>
                  <a:cubicBezTo>
                    <a:pt x="85" y="172"/>
                    <a:pt x="80" y="166"/>
                    <a:pt x="80" y="152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0" y="85"/>
                    <a:pt x="73" y="77"/>
                    <a:pt x="56" y="77"/>
                  </a:cubicBezTo>
                  <a:cubicBezTo>
                    <a:pt x="36" y="77"/>
                    <a:pt x="23" y="89"/>
                    <a:pt x="18" y="94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20" y="77"/>
                    <a:pt x="36" y="61"/>
                    <a:pt x="59" y="61"/>
                  </a:cubicBezTo>
                  <a:cubicBezTo>
                    <a:pt x="85" y="61"/>
                    <a:pt x="98" y="76"/>
                    <a:pt x="98" y="101"/>
                  </a:cubicBezTo>
                  <a:cubicBezTo>
                    <a:pt x="98" y="151"/>
                    <a:pt x="98" y="151"/>
                    <a:pt x="98" y="151"/>
                  </a:cubicBezTo>
                  <a:cubicBezTo>
                    <a:pt x="98" y="156"/>
                    <a:pt x="100" y="158"/>
                    <a:pt x="104" y="158"/>
                  </a:cubicBezTo>
                  <a:cubicBezTo>
                    <a:pt x="110" y="158"/>
                    <a:pt x="119" y="154"/>
                    <a:pt x="119" y="154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23" y="165"/>
                    <a:pt x="113" y="172"/>
                    <a:pt x="98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B766913-D239-4CD4-AA74-BD1ADD9770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98" y="1977"/>
              <a:ext cx="316" cy="386"/>
            </a:xfrm>
            <a:custGeom>
              <a:avLst/>
              <a:gdLst>
                <a:gd name="T0" fmla="*/ 0 w 133"/>
                <a:gd name="T1" fmla="*/ 0 h 160"/>
                <a:gd name="T2" fmla="*/ 70 w 133"/>
                <a:gd name="T3" fmla="*/ 0 h 160"/>
                <a:gd name="T4" fmla="*/ 133 w 133"/>
                <a:gd name="T5" fmla="*/ 58 h 160"/>
                <a:gd name="T6" fmla="*/ 70 w 133"/>
                <a:gd name="T7" fmla="*/ 112 h 160"/>
                <a:gd name="T8" fmla="*/ 20 w 133"/>
                <a:gd name="T9" fmla="*/ 112 h 160"/>
                <a:gd name="T10" fmla="*/ 20 w 133"/>
                <a:gd name="T11" fmla="*/ 160 h 160"/>
                <a:gd name="T12" fmla="*/ 0 w 133"/>
                <a:gd name="T13" fmla="*/ 160 h 160"/>
                <a:gd name="T14" fmla="*/ 0 w 133"/>
                <a:gd name="T15" fmla="*/ 0 h 160"/>
                <a:gd name="T16" fmla="*/ 112 w 133"/>
                <a:gd name="T17" fmla="*/ 58 h 160"/>
                <a:gd name="T18" fmla="*/ 70 w 133"/>
                <a:gd name="T19" fmla="*/ 18 h 160"/>
                <a:gd name="T20" fmla="*/ 20 w 133"/>
                <a:gd name="T21" fmla="*/ 18 h 160"/>
                <a:gd name="T22" fmla="*/ 20 w 133"/>
                <a:gd name="T23" fmla="*/ 95 h 160"/>
                <a:gd name="T24" fmla="*/ 70 w 133"/>
                <a:gd name="T25" fmla="*/ 95 h 160"/>
                <a:gd name="T26" fmla="*/ 112 w 133"/>
                <a:gd name="T27" fmla="*/ 5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60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109" y="0"/>
                    <a:pt x="133" y="19"/>
                    <a:pt x="133" y="58"/>
                  </a:cubicBezTo>
                  <a:cubicBezTo>
                    <a:pt x="133" y="95"/>
                    <a:pt x="109" y="112"/>
                    <a:pt x="70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0" y="0"/>
                  </a:lnTo>
                  <a:close/>
                  <a:moveTo>
                    <a:pt x="112" y="58"/>
                  </a:moveTo>
                  <a:cubicBezTo>
                    <a:pt x="112" y="31"/>
                    <a:pt x="98" y="18"/>
                    <a:pt x="7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70" y="95"/>
                    <a:pt x="70" y="95"/>
                    <a:pt x="70" y="95"/>
                  </a:cubicBezTo>
                  <a:cubicBezTo>
                    <a:pt x="98" y="95"/>
                    <a:pt x="112" y="83"/>
                    <a:pt x="112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F436DDB-80F3-47E0-AE48-37FB6F527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977"/>
              <a:ext cx="316" cy="393"/>
            </a:xfrm>
            <a:custGeom>
              <a:avLst/>
              <a:gdLst>
                <a:gd name="T0" fmla="*/ 133 w 133"/>
                <a:gd name="T1" fmla="*/ 0 h 163"/>
                <a:gd name="T2" fmla="*/ 133 w 133"/>
                <a:gd name="T3" fmla="*/ 92 h 163"/>
                <a:gd name="T4" fmla="*/ 66 w 133"/>
                <a:gd name="T5" fmla="*/ 163 h 163"/>
                <a:gd name="T6" fmla="*/ 0 w 133"/>
                <a:gd name="T7" fmla="*/ 92 h 163"/>
                <a:gd name="T8" fmla="*/ 0 w 133"/>
                <a:gd name="T9" fmla="*/ 0 h 163"/>
                <a:gd name="T10" fmla="*/ 20 w 133"/>
                <a:gd name="T11" fmla="*/ 0 h 163"/>
                <a:gd name="T12" fmla="*/ 20 w 133"/>
                <a:gd name="T13" fmla="*/ 93 h 163"/>
                <a:gd name="T14" fmla="*/ 66 w 133"/>
                <a:gd name="T15" fmla="*/ 145 h 163"/>
                <a:gd name="T16" fmla="*/ 113 w 133"/>
                <a:gd name="T17" fmla="*/ 93 h 163"/>
                <a:gd name="T18" fmla="*/ 113 w 133"/>
                <a:gd name="T19" fmla="*/ 0 h 163"/>
                <a:gd name="T20" fmla="*/ 133 w 133"/>
                <a:gd name="T21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63">
                  <a:moveTo>
                    <a:pt x="133" y="0"/>
                  </a:moveTo>
                  <a:cubicBezTo>
                    <a:pt x="133" y="92"/>
                    <a:pt x="133" y="92"/>
                    <a:pt x="133" y="92"/>
                  </a:cubicBezTo>
                  <a:cubicBezTo>
                    <a:pt x="133" y="144"/>
                    <a:pt x="113" y="162"/>
                    <a:pt x="66" y="163"/>
                  </a:cubicBezTo>
                  <a:cubicBezTo>
                    <a:pt x="20" y="162"/>
                    <a:pt x="0" y="144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0" y="131"/>
                    <a:pt x="34" y="145"/>
                    <a:pt x="66" y="145"/>
                  </a:cubicBezTo>
                  <a:cubicBezTo>
                    <a:pt x="98" y="145"/>
                    <a:pt x="113" y="133"/>
                    <a:pt x="113" y="93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6C5BFB5-79D5-43C6-B18E-FD4658E3A3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3" y="1977"/>
              <a:ext cx="347" cy="388"/>
            </a:xfrm>
            <a:custGeom>
              <a:avLst/>
              <a:gdLst>
                <a:gd name="T0" fmla="*/ 120 w 146"/>
                <a:gd name="T1" fmla="*/ 161 h 161"/>
                <a:gd name="T2" fmla="*/ 91 w 146"/>
                <a:gd name="T3" fmla="*/ 144 h 161"/>
                <a:gd name="T4" fmla="*/ 69 w 146"/>
                <a:gd name="T5" fmla="*/ 101 h 161"/>
                <a:gd name="T6" fmla="*/ 55 w 146"/>
                <a:gd name="T7" fmla="*/ 101 h 161"/>
                <a:gd name="T8" fmla="*/ 20 w 146"/>
                <a:gd name="T9" fmla="*/ 101 h 161"/>
                <a:gd name="T10" fmla="*/ 20 w 146"/>
                <a:gd name="T11" fmla="*/ 160 h 161"/>
                <a:gd name="T12" fmla="*/ 0 w 146"/>
                <a:gd name="T13" fmla="*/ 160 h 161"/>
                <a:gd name="T14" fmla="*/ 0 w 146"/>
                <a:gd name="T15" fmla="*/ 0 h 161"/>
                <a:gd name="T16" fmla="*/ 60 w 146"/>
                <a:gd name="T17" fmla="*/ 0 h 161"/>
                <a:gd name="T18" fmla="*/ 120 w 146"/>
                <a:gd name="T19" fmla="*/ 50 h 161"/>
                <a:gd name="T20" fmla="*/ 89 w 146"/>
                <a:gd name="T21" fmla="*/ 96 h 161"/>
                <a:gd name="T22" fmla="*/ 108 w 146"/>
                <a:gd name="T23" fmla="*/ 136 h 161"/>
                <a:gd name="T24" fmla="*/ 123 w 146"/>
                <a:gd name="T25" fmla="*/ 145 h 161"/>
                <a:gd name="T26" fmla="*/ 139 w 146"/>
                <a:gd name="T27" fmla="*/ 141 h 161"/>
                <a:gd name="T28" fmla="*/ 146 w 146"/>
                <a:gd name="T29" fmla="*/ 152 h 161"/>
                <a:gd name="T30" fmla="*/ 120 w 146"/>
                <a:gd name="T31" fmla="*/ 161 h 161"/>
                <a:gd name="T32" fmla="*/ 99 w 146"/>
                <a:gd name="T33" fmla="*/ 50 h 161"/>
                <a:gd name="T34" fmla="*/ 60 w 146"/>
                <a:gd name="T35" fmla="*/ 18 h 161"/>
                <a:gd name="T36" fmla="*/ 20 w 146"/>
                <a:gd name="T37" fmla="*/ 18 h 161"/>
                <a:gd name="T38" fmla="*/ 20 w 146"/>
                <a:gd name="T39" fmla="*/ 84 h 161"/>
                <a:gd name="T40" fmla="*/ 55 w 146"/>
                <a:gd name="T41" fmla="*/ 84 h 161"/>
                <a:gd name="T42" fmla="*/ 99 w 146"/>
                <a:gd name="T43" fmla="*/ 5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6" h="161">
                  <a:moveTo>
                    <a:pt x="120" y="161"/>
                  </a:moveTo>
                  <a:cubicBezTo>
                    <a:pt x="106" y="161"/>
                    <a:pt x="97" y="158"/>
                    <a:pt x="91" y="144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5" y="101"/>
                    <a:pt x="60" y="101"/>
                    <a:pt x="55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100" y="0"/>
                    <a:pt x="120" y="17"/>
                    <a:pt x="120" y="50"/>
                  </a:cubicBezTo>
                  <a:cubicBezTo>
                    <a:pt x="120" y="72"/>
                    <a:pt x="110" y="89"/>
                    <a:pt x="89" y="96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12" y="144"/>
                    <a:pt x="117" y="145"/>
                    <a:pt x="123" y="145"/>
                  </a:cubicBezTo>
                  <a:cubicBezTo>
                    <a:pt x="131" y="145"/>
                    <a:pt x="139" y="141"/>
                    <a:pt x="139" y="141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6" y="152"/>
                    <a:pt x="136" y="161"/>
                    <a:pt x="120" y="161"/>
                  </a:cubicBezTo>
                  <a:close/>
                  <a:moveTo>
                    <a:pt x="99" y="50"/>
                  </a:moveTo>
                  <a:cubicBezTo>
                    <a:pt x="99" y="28"/>
                    <a:pt x="87" y="18"/>
                    <a:pt x="6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87" y="84"/>
                    <a:pt x="99" y="72"/>
                    <a:pt x="99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A7CACDA4-A498-4644-9D21-54921EDB47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87" y="1977"/>
              <a:ext cx="316" cy="386"/>
            </a:xfrm>
            <a:custGeom>
              <a:avLst/>
              <a:gdLst>
                <a:gd name="T0" fmla="*/ 0 w 133"/>
                <a:gd name="T1" fmla="*/ 0 h 160"/>
                <a:gd name="T2" fmla="*/ 71 w 133"/>
                <a:gd name="T3" fmla="*/ 0 h 160"/>
                <a:gd name="T4" fmla="*/ 133 w 133"/>
                <a:gd name="T5" fmla="*/ 58 h 160"/>
                <a:gd name="T6" fmla="*/ 71 w 133"/>
                <a:gd name="T7" fmla="*/ 112 h 160"/>
                <a:gd name="T8" fmla="*/ 21 w 133"/>
                <a:gd name="T9" fmla="*/ 112 h 160"/>
                <a:gd name="T10" fmla="*/ 21 w 133"/>
                <a:gd name="T11" fmla="*/ 160 h 160"/>
                <a:gd name="T12" fmla="*/ 0 w 133"/>
                <a:gd name="T13" fmla="*/ 160 h 160"/>
                <a:gd name="T14" fmla="*/ 0 w 133"/>
                <a:gd name="T15" fmla="*/ 0 h 160"/>
                <a:gd name="T16" fmla="*/ 112 w 133"/>
                <a:gd name="T17" fmla="*/ 58 h 160"/>
                <a:gd name="T18" fmla="*/ 71 w 133"/>
                <a:gd name="T19" fmla="*/ 18 h 160"/>
                <a:gd name="T20" fmla="*/ 21 w 133"/>
                <a:gd name="T21" fmla="*/ 18 h 160"/>
                <a:gd name="T22" fmla="*/ 21 w 133"/>
                <a:gd name="T23" fmla="*/ 95 h 160"/>
                <a:gd name="T24" fmla="*/ 71 w 133"/>
                <a:gd name="T25" fmla="*/ 95 h 160"/>
                <a:gd name="T26" fmla="*/ 112 w 133"/>
                <a:gd name="T27" fmla="*/ 5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60">
                  <a:moveTo>
                    <a:pt x="0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09" y="0"/>
                    <a:pt x="133" y="19"/>
                    <a:pt x="133" y="58"/>
                  </a:cubicBezTo>
                  <a:cubicBezTo>
                    <a:pt x="133" y="95"/>
                    <a:pt x="109" y="112"/>
                    <a:pt x="71" y="112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0" y="0"/>
                  </a:lnTo>
                  <a:close/>
                  <a:moveTo>
                    <a:pt x="112" y="58"/>
                  </a:moveTo>
                  <a:cubicBezTo>
                    <a:pt x="112" y="31"/>
                    <a:pt x="99" y="18"/>
                    <a:pt x="7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71" y="95"/>
                    <a:pt x="71" y="95"/>
                    <a:pt x="71" y="95"/>
                  </a:cubicBezTo>
                  <a:cubicBezTo>
                    <a:pt x="98" y="95"/>
                    <a:pt x="112" y="83"/>
                    <a:pt x="112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15EB175-5D1E-4341-8010-90066E3ACD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50" y="1969"/>
              <a:ext cx="399" cy="401"/>
            </a:xfrm>
            <a:custGeom>
              <a:avLst/>
              <a:gdLst>
                <a:gd name="T0" fmla="*/ 84 w 168"/>
                <a:gd name="T1" fmla="*/ 166 h 166"/>
                <a:gd name="T2" fmla="*/ 0 w 168"/>
                <a:gd name="T3" fmla="*/ 83 h 166"/>
                <a:gd name="T4" fmla="*/ 84 w 168"/>
                <a:gd name="T5" fmla="*/ 0 h 166"/>
                <a:gd name="T6" fmla="*/ 168 w 168"/>
                <a:gd name="T7" fmla="*/ 83 h 166"/>
                <a:gd name="T8" fmla="*/ 84 w 168"/>
                <a:gd name="T9" fmla="*/ 166 h 166"/>
                <a:gd name="T10" fmla="*/ 84 w 168"/>
                <a:gd name="T11" fmla="*/ 18 h 166"/>
                <a:gd name="T12" fmla="*/ 21 w 168"/>
                <a:gd name="T13" fmla="*/ 83 h 166"/>
                <a:gd name="T14" fmla="*/ 84 w 168"/>
                <a:gd name="T15" fmla="*/ 148 h 166"/>
                <a:gd name="T16" fmla="*/ 148 w 168"/>
                <a:gd name="T17" fmla="*/ 83 h 166"/>
                <a:gd name="T18" fmla="*/ 84 w 168"/>
                <a:gd name="T19" fmla="*/ 1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6">
                  <a:moveTo>
                    <a:pt x="84" y="166"/>
                  </a:moveTo>
                  <a:cubicBezTo>
                    <a:pt x="26" y="166"/>
                    <a:pt x="0" y="128"/>
                    <a:pt x="0" y="83"/>
                  </a:cubicBezTo>
                  <a:cubicBezTo>
                    <a:pt x="0" y="34"/>
                    <a:pt x="32" y="0"/>
                    <a:pt x="84" y="0"/>
                  </a:cubicBezTo>
                  <a:cubicBezTo>
                    <a:pt x="137" y="0"/>
                    <a:pt x="168" y="34"/>
                    <a:pt x="168" y="83"/>
                  </a:cubicBezTo>
                  <a:cubicBezTo>
                    <a:pt x="168" y="128"/>
                    <a:pt x="142" y="166"/>
                    <a:pt x="84" y="166"/>
                  </a:cubicBezTo>
                  <a:close/>
                  <a:moveTo>
                    <a:pt x="84" y="18"/>
                  </a:moveTo>
                  <a:cubicBezTo>
                    <a:pt x="45" y="18"/>
                    <a:pt x="21" y="42"/>
                    <a:pt x="21" y="83"/>
                  </a:cubicBezTo>
                  <a:cubicBezTo>
                    <a:pt x="21" y="119"/>
                    <a:pt x="40" y="148"/>
                    <a:pt x="84" y="148"/>
                  </a:cubicBezTo>
                  <a:cubicBezTo>
                    <a:pt x="129" y="148"/>
                    <a:pt x="148" y="119"/>
                    <a:pt x="148" y="83"/>
                  </a:cubicBezTo>
                  <a:cubicBezTo>
                    <a:pt x="148" y="42"/>
                    <a:pt x="124" y="18"/>
                    <a:pt x="8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1678A34-821C-480F-A069-EDD99CE84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1" y="1969"/>
              <a:ext cx="320" cy="401"/>
            </a:xfrm>
            <a:custGeom>
              <a:avLst/>
              <a:gdLst>
                <a:gd name="T0" fmla="*/ 71 w 135"/>
                <a:gd name="T1" fmla="*/ 19 h 166"/>
                <a:gd name="T2" fmla="*/ 26 w 135"/>
                <a:gd name="T3" fmla="*/ 44 h 166"/>
                <a:gd name="T4" fmla="*/ 72 w 135"/>
                <a:gd name="T5" fmla="*/ 74 h 166"/>
                <a:gd name="T6" fmla="*/ 135 w 135"/>
                <a:gd name="T7" fmla="*/ 119 h 166"/>
                <a:gd name="T8" fmla="*/ 69 w 135"/>
                <a:gd name="T9" fmla="*/ 166 h 166"/>
                <a:gd name="T10" fmla="*/ 0 w 135"/>
                <a:gd name="T11" fmla="*/ 144 h 166"/>
                <a:gd name="T12" fmla="*/ 10 w 135"/>
                <a:gd name="T13" fmla="*/ 128 h 166"/>
                <a:gd name="T14" fmla="*/ 69 w 135"/>
                <a:gd name="T15" fmla="*/ 148 h 166"/>
                <a:gd name="T16" fmla="*/ 113 w 135"/>
                <a:gd name="T17" fmla="*/ 122 h 166"/>
                <a:gd name="T18" fmla="*/ 69 w 135"/>
                <a:gd name="T19" fmla="*/ 93 h 166"/>
                <a:gd name="T20" fmla="*/ 4 w 135"/>
                <a:gd name="T21" fmla="*/ 47 h 166"/>
                <a:gd name="T22" fmla="*/ 70 w 135"/>
                <a:gd name="T23" fmla="*/ 0 h 166"/>
                <a:gd name="T24" fmla="*/ 134 w 135"/>
                <a:gd name="T25" fmla="*/ 17 h 166"/>
                <a:gd name="T26" fmla="*/ 127 w 135"/>
                <a:gd name="T27" fmla="*/ 35 h 166"/>
                <a:gd name="T28" fmla="*/ 71 w 135"/>
                <a:gd name="T29" fmla="*/ 1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5" h="166">
                  <a:moveTo>
                    <a:pt x="71" y="19"/>
                  </a:moveTo>
                  <a:cubicBezTo>
                    <a:pt x="40" y="19"/>
                    <a:pt x="26" y="30"/>
                    <a:pt x="26" y="44"/>
                  </a:cubicBezTo>
                  <a:cubicBezTo>
                    <a:pt x="26" y="62"/>
                    <a:pt x="41" y="69"/>
                    <a:pt x="72" y="74"/>
                  </a:cubicBezTo>
                  <a:cubicBezTo>
                    <a:pt x="114" y="81"/>
                    <a:pt x="135" y="90"/>
                    <a:pt x="135" y="119"/>
                  </a:cubicBezTo>
                  <a:cubicBezTo>
                    <a:pt x="135" y="144"/>
                    <a:pt x="115" y="166"/>
                    <a:pt x="69" y="166"/>
                  </a:cubicBezTo>
                  <a:cubicBezTo>
                    <a:pt x="18" y="166"/>
                    <a:pt x="0" y="144"/>
                    <a:pt x="0" y="144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10" y="128"/>
                    <a:pt x="30" y="148"/>
                    <a:pt x="69" y="148"/>
                  </a:cubicBezTo>
                  <a:cubicBezTo>
                    <a:pt x="97" y="148"/>
                    <a:pt x="113" y="138"/>
                    <a:pt x="113" y="122"/>
                  </a:cubicBezTo>
                  <a:cubicBezTo>
                    <a:pt x="113" y="105"/>
                    <a:pt x="105" y="100"/>
                    <a:pt x="69" y="93"/>
                  </a:cubicBezTo>
                  <a:cubicBezTo>
                    <a:pt x="28" y="86"/>
                    <a:pt x="4" y="77"/>
                    <a:pt x="4" y="47"/>
                  </a:cubicBezTo>
                  <a:cubicBezTo>
                    <a:pt x="4" y="23"/>
                    <a:pt x="24" y="0"/>
                    <a:pt x="70" y="0"/>
                  </a:cubicBezTo>
                  <a:cubicBezTo>
                    <a:pt x="111" y="0"/>
                    <a:pt x="134" y="17"/>
                    <a:pt x="134" y="17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07" y="19"/>
                    <a:pt x="7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627B71-C8DC-46E9-9B1C-399FEBEDF3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0" y="1977"/>
              <a:ext cx="284" cy="386"/>
            </a:xfrm>
            <a:custGeom>
              <a:avLst/>
              <a:gdLst>
                <a:gd name="T0" fmla="*/ 0 w 284"/>
                <a:gd name="T1" fmla="*/ 0 h 386"/>
                <a:gd name="T2" fmla="*/ 284 w 284"/>
                <a:gd name="T3" fmla="*/ 0 h 386"/>
                <a:gd name="T4" fmla="*/ 284 w 284"/>
                <a:gd name="T5" fmla="*/ 43 h 386"/>
                <a:gd name="T6" fmla="*/ 47 w 284"/>
                <a:gd name="T7" fmla="*/ 43 h 386"/>
                <a:gd name="T8" fmla="*/ 47 w 284"/>
                <a:gd name="T9" fmla="*/ 176 h 386"/>
                <a:gd name="T10" fmla="*/ 242 w 284"/>
                <a:gd name="T11" fmla="*/ 176 h 386"/>
                <a:gd name="T12" fmla="*/ 242 w 284"/>
                <a:gd name="T13" fmla="*/ 219 h 386"/>
                <a:gd name="T14" fmla="*/ 47 w 284"/>
                <a:gd name="T15" fmla="*/ 219 h 386"/>
                <a:gd name="T16" fmla="*/ 47 w 284"/>
                <a:gd name="T17" fmla="*/ 342 h 386"/>
                <a:gd name="T18" fmla="*/ 284 w 284"/>
                <a:gd name="T19" fmla="*/ 342 h 386"/>
                <a:gd name="T20" fmla="*/ 284 w 284"/>
                <a:gd name="T21" fmla="*/ 386 h 386"/>
                <a:gd name="T22" fmla="*/ 0 w 284"/>
                <a:gd name="T23" fmla="*/ 386 h 386"/>
                <a:gd name="T24" fmla="*/ 0 w 284"/>
                <a:gd name="T25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386">
                  <a:moveTo>
                    <a:pt x="0" y="0"/>
                  </a:moveTo>
                  <a:lnTo>
                    <a:pt x="284" y="0"/>
                  </a:lnTo>
                  <a:lnTo>
                    <a:pt x="284" y="43"/>
                  </a:lnTo>
                  <a:lnTo>
                    <a:pt x="47" y="43"/>
                  </a:lnTo>
                  <a:lnTo>
                    <a:pt x="47" y="176"/>
                  </a:lnTo>
                  <a:lnTo>
                    <a:pt x="242" y="176"/>
                  </a:lnTo>
                  <a:lnTo>
                    <a:pt x="242" y="219"/>
                  </a:lnTo>
                  <a:lnTo>
                    <a:pt x="47" y="219"/>
                  </a:lnTo>
                  <a:lnTo>
                    <a:pt x="47" y="342"/>
                  </a:lnTo>
                  <a:lnTo>
                    <a:pt x="284" y="342"/>
                  </a:lnTo>
                  <a:lnTo>
                    <a:pt x="284" y="386"/>
                  </a:lnTo>
                  <a:lnTo>
                    <a:pt x="0" y="38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</p:grpSp>
      <p:sp>
        <p:nvSpPr>
          <p:cNvPr id="27" name="Subtitle 2">
            <a:extLst>
              <a:ext uri="{FF2B5EF4-FFF2-40B4-BE49-F238E27FC236}">
                <a16:creationId xmlns:a16="http://schemas.microsoft.com/office/drawing/2014/main" id="{E9F9BB31-D93B-400A-B0BD-DF51A684D3C1}"/>
              </a:ext>
            </a:extLst>
          </p:cNvPr>
          <p:cNvSpPr txBox="1">
            <a:spLocks/>
          </p:cNvSpPr>
          <p:nvPr/>
        </p:nvSpPr>
        <p:spPr>
          <a:xfrm>
            <a:off x="942327" y="4935983"/>
            <a:ext cx="10058400" cy="8986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  <a:defRPr lang="en-US" sz="2000" b="0" i="1" kern="1600" spc="-5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  <a:defRPr lang="en-US" sz="18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  <a:defRPr lang="en-US" sz="16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  <a:defRPr sz="16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athryn Kersey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xecutive Director, Virology Clinical Development, Gilead Sciences, Inc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dvancing HIV care for mothers and newborns: Exploring long-acting solution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2</a:t>
            </a:r>
            <a:r>
              <a:rPr kumimoji="0" lang="en-US" sz="1400" b="0" i="0" u="none" strike="noStrike" kern="800" cap="none" spc="30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h</a:t>
            </a:r>
            <a:r>
              <a:rPr kumimoji="0" lang="en-US" sz="14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IAS Conference on HIV Science, Brisbane</a:t>
            </a:r>
            <a:endParaRPr kumimoji="0" lang="en-US" sz="1400" b="0" i="0" u="none" strike="noStrike" kern="800" cap="none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unday July 23,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5C83C0-0234-0D4F-35FD-FF0F714D0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9511" y="5385294"/>
            <a:ext cx="1982489" cy="147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31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0E9F4CFA-5470-8E1C-362A-30B965737925}"/>
              </a:ext>
            </a:extLst>
          </p:cNvPr>
          <p:cNvSpPr txBox="1"/>
          <p:nvPr/>
        </p:nvSpPr>
        <p:spPr>
          <a:xfrm>
            <a:off x="577516" y="6409800"/>
            <a:ext cx="6953128" cy="288147"/>
          </a:xfrm>
          <a:prstGeom prst="rect">
            <a:avLst/>
          </a:prstGeom>
          <a:noFill/>
        </p:spPr>
        <p:txBody>
          <a:bodyPr wrap="square" lIns="72000" tIns="72000" rIns="7200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C</a:t>
            </a:r>
            <a:r>
              <a:rPr kumimoji="0" lang="en-GB" sz="700" b="0" i="0" u="none" strike="noStrike" kern="1200" cap="none" spc="0" normalizeH="0" baseline="-2500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0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half maximal effective concentration; HIV, human immunodeficiency virus;</a:t>
            </a:r>
            <a:b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N, lenacapavir; PK, pharmacokinetics; pM, picomolar; PrEP, pre-exposure prophylaxis.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20366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3CBDA5-FA83-65E6-8C40-9D3A3D438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16" y="365125"/>
            <a:ext cx="12192000" cy="987019"/>
          </a:xfrm>
        </p:spPr>
        <p:txBody>
          <a:bodyPr anchor="ctr" anchorCtr="0"/>
          <a:lstStyle/>
          <a:p>
            <a:pPr algn="l"/>
            <a:r>
              <a:rPr lang="en-US" sz="3600">
                <a:latin typeface="Trebuchet MS" panose="020B0603020202020204" pitchFamily="34" charset="0"/>
              </a:rPr>
              <a:t>Lenacapavir: A first-in-class multistage HIV </a:t>
            </a:r>
            <a:br>
              <a:rPr lang="en-US" sz="3600">
                <a:latin typeface="Trebuchet MS" panose="020B0603020202020204" pitchFamily="34" charset="0"/>
              </a:rPr>
            </a:br>
            <a:r>
              <a:rPr lang="en-US" sz="3600">
                <a:latin typeface="Trebuchet MS" panose="020B0603020202020204" pitchFamily="34" charset="0"/>
              </a:rPr>
              <a:t>capsid inhibitor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75A6110F-B8CE-4B96-5A72-9324CD86C015}"/>
              </a:ext>
            </a:extLst>
          </p:cNvPr>
          <p:cNvSpPr txBox="1">
            <a:spLocks/>
          </p:cNvSpPr>
          <p:nvPr/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098B64-2585-0027-A52F-8703AC7741DE}"/>
              </a:ext>
            </a:extLst>
          </p:cNvPr>
          <p:cNvSpPr txBox="1"/>
          <p:nvPr/>
        </p:nvSpPr>
        <p:spPr>
          <a:xfrm>
            <a:off x="5476094" y="6502721"/>
            <a:ext cx="6120755" cy="180425"/>
          </a:xfrm>
          <a:prstGeom prst="rect">
            <a:avLst/>
          </a:prstGeom>
          <a:noFill/>
        </p:spPr>
        <p:txBody>
          <a:bodyPr wrap="square" lIns="72000" tIns="72000" rIns="7200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vory-Sobol H, et al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urr Opin HIV AIDS.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022;17:15–21.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180C36E-2887-8798-4F23-6AC09940985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316938"/>
            <a:ext cx="12192000" cy="4702207"/>
            <a:chOff x="0" y="1297888"/>
            <a:chExt cx="12798232" cy="4936019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AC372AE-781B-B7E5-FAF8-AB97BEFBA70F}"/>
                </a:ext>
              </a:extLst>
            </p:cNvPr>
            <p:cNvSpPr/>
            <p:nvPr/>
          </p:nvSpPr>
          <p:spPr>
            <a:xfrm>
              <a:off x="0" y="1297888"/>
              <a:ext cx="12798232" cy="49360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3" name="Picture 32" descr="Diagram&#10;&#10;Description automatically generated">
              <a:extLst>
                <a:ext uri="{FF2B5EF4-FFF2-40B4-BE49-F238E27FC236}">
                  <a16:creationId xmlns:a16="http://schemas.microsoft.com/office/drawing/2014/main" id="{4F1FF8E5-B83C-865C-6B76-8895B6ABDA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403"/>
            <a:stretch/>
          </p:blipFill>
          <p:spPr>
            <a:xfrm>
              <a:off x="297241" y="1304812"/>
              <a:ext cx="7131848" cy="475187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95D35F-D0CF-04CB-6A3D-612263F63946}"/>
                </a:ext>
              </a:extLst>
            </p:cNvPr>
            <p:cNvSpPr/>
            <p:nvPr/>
          </p:nvSpPr>
          <p:spPr>
            <a:xfrm>
              <a:off x="12602" y="2294241"/>
              <a:ext cx="153730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HIV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D0AA38B0-6C59-1FDE-34D5-F5A770BBE82B}"/>
                </a:ext>
              </a:extLst>
            </p:cNvPr>
            <p:cNvSpPr/>
            <p:nvPr/>
          </p:nvSpPr>
          <p:spPr>
            <a:xfrm>
              <a:off x="2664568" y="1990884"/>
              <a:ext cx="1213843" cy="340519"/>
            </a:xfrm>
            <a:prstGeom prst="roundRect">
              <a:avLst/>
            </a:prstGeom>
            <a:solidFill>
              <a:schemeClr val="bg1">
                <a:alpha val="63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Virus Entry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9AA1CD61-11F8-204B-097B-2156AC20D68B}"/>
                </a:ext>
              </a:extLst>
            </p:cNvPr>
            <p:cNvSpPr/>
            <p:nvPr/>
          </p:nvSpPr>
          <p:spPr>
            <a:xfrm>
              <a:off x="2357610" y="2056056"/>
              <a:ext cx="228856" cy="23416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F3A4110-5CE2-8D55-E17D-C1D8CA09635F}"/>
                </a:ext>
              </a:extLst>
            </p:cNvPr>
            <p:cNvSpPr/>
            <p:nvPr/>
          </p:nvSpPr>
          <p:spPr>
            <a:xfrm>
              <a:off x="6059429" y="4852706"/>
              <a:ext cx="1361212" cy="323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Maturation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9265A07-87A2-6AE0-0A7F-7EB9D85863E6}"/>
                </a:ext>
              </a:extLst>
            </p:cNvPr>
            <p:cNvSpPr/>
            <p:nvPr/>
          </p:nvSpPr>
          <p:spPr>
            <a:xfrm>
              <a:off x="2716628" y="2514527"/>
              <a:ext cx="228856" cy="23400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E097B96-6293-9649-F10B-E52980D6F445}"/>
                </a:ext>
              </a:extLst>
            </p:cNvPr>
            <p:cNvSpPr/>
            <p:nvPr/>
          </p:nvSpPr>
          <p:spPr>
            <a:xfrm rot="10800000" flipV="1">
              <a:off x="2639383" y="3358684"/>
              <a:ext cx="234000" cy="23400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BDBDB2A-18BA-102F-26AC-E44CB5B6E77C}"/>
                </a:ext>
              </a:extLst>
            </p:cNvPr>
            <p:cNvSpPr/>
            <p:nvPr/>
          </p:nvSpPr>
          <p:spPr>
            <a:xfrm>
              <a:off x="4480834" y="3964841"/>
              <a:ext cx="228856" cy="23416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15C32C03-5D5C-D9EB-92E6-F95DAE2D24FD}"/>
                </a:ext>
              </a:extLst>
            </p:cNvPr>
            <p:cNvSpPr/>
            <p:nvPr/>
          </p:nvSpPr>
          <p:spPr>
            <a:xfrm>
              <a:off x="4816824" y="5395620"/>
              <a:ext cx="228856" cy="23416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5DBB10-24D2-2704-EDDC-5028A592373B}"/>
                </a:ext>
              </a:extLst>
            </p:cNvPr>
            <p:cNvSpPr/>
            <p:nvPr/>
          </p:nvSpPr>
          <p:spPr>
            <a:xfrm>
              <a:off x="6738805" y="4667232"/>
              <a:ext cx="228856" cy="23416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2007FA-C4D9-8419-4FAF-71E02F40A3D0}"/>
                </a:ext>
              </a:extLst>
            </p:cNvPr>
            <p:cNvSpPr/>
            <p:nvPr/>
          </p:nvSpPr>
          <p:spPr>
            <a:xfrm>
              <a:off x="4253199" y="2711366"/>
              <a:ext cx="145429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CYTOPLASM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E3B52DF-F6CC-87A5-FF3D-C6AA4569F617}"/>
                </a:ext>
              </a:extLst>
            </p:cNvPr>
            <p:cNvSpPr/>
            <p:nvPr/>
          </p:nvSpPr>
          <p:spPr>
            <a:xfrm>
              <a:off x="3070551" y="4401845"/>
              <a:ext cx="110012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NUCLEUS</a:t>
              </a: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B0493C6-D0D9-B332-6023-E7D2BD9897D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756250" y="3658751"/>
              <a:ext cx="188350" cy="1990941"/>
            </a:xfrm>
            <a:prstGeom prst="straightConnector1">
              <a:avLst/>
            </a:prstGeom>
            <a:ln w="28575">
              <a:solidFill>
                <a:schemeClr val="accent1"/>
              </a:solidFill>
              <a:prstDash val="sysDash"/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FFB6FDC5-DA89-FE03-029B-21BD4DB22A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39307" y="5603665"/>
              <a:ext cx="1334918" cy="242956"/>
            </a:xfrm>
            <a:prstGeom prst="straightConnector1">
              <a:avLst/>
            </a:prstGeom>
            <a:ln w="28575">
              <a:solidFill>
                <a:schemeClr val="accent1"/>
              </a:solidFill>
              <a:prstDash val="sysDash"/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97D2D9CC-53B8-3432-8D22-ADFF25595D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52815" y="5694079"/>
              <a:ext cx="3238979" cy="337191"/>
            </a:xfrm>
            <a:prstGeom prst="straightConnector1">
              <a:avLst/>
            </a:prstGeom>
            <a:ln w="28575">
              <a:solidFill>
                <a:schemeClr val="accent1"/>
              </a:solidFill>
              <a:prstDash val="sysDash"/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5007BD8-B7A2-1A54-A39E-CC14F1E4A99A}"/>
                </a:ext>
              </a:extLst>
            </p:cNvPr>
            <p:cNvGrpSpPr/>
            <p:nvPr/>
          </p:nvGrpSpPr>
          <p:grpSpPr>
            <a:xfrm>
              <a:off x="198484" y="5618875"/>
              <a:ext cx="3433605" cy="566935"/>
              <a:chOff x="198484" y="5302564"/>
              <a:chExt cx="3433605" cy="566935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B0FF7045-E4B7-0107-482E-DB6A591CC008}"/>
                  </a:ext>
                </a:extLst>
              </p:cNvPr>
              <p:cNvSpPr/>
              <p:nvPr/>
            </p:nvSpPr>
            <p:spPr>
              <a:xfrm>
                <a:off x="2279169" y="5302564"/>
                <a:ext cx="1352920" cy="56693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60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401638" algn="l"/>
                  </a:tabLst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apsid Functions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82170BA6-C412-D910-2A34-37757B1FD919}"/>
                  </a:ext>
                </a:extLst>
              </p:cNvPr>
              <p:cNvSpPr txBox="1"/>
              <p:nvPr/>
            </p:nvSpPr>
            <p:spPr>
              <a:xfrm>
                <a:off x="198484" y="5458016"/>
                <a:ext cx="176657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12191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203661"/>
                    </a:solidFill>
                    <a:effectLst/>
                    <a:uLnTx/>
                    <a:uFillTx/>
                    <a:latin typeface="Arial" panose="020B0604020202020204"/>
                    <a:ea typeface="ＭＳ Ｐゴシック" pitchFamily="34" charset="-128"/>
                    <a:cs typeface="Arial" panose="020B0604020202020204" pitchFamily="34" charset="0"/>
                  </a:rPr>
                  <a:t>LENACAPAVIR</a:t>
                </a: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61DA8BE3-0B98-3D24-697D-2EC959C6D80E}"/>
                  </a:ext>
                </a:extLst>
              </p:cNvPr>
              <p:cNvCxnSpPr/>
              <p:nvPr/>
            </p:nvCxnSpPr>
            <p:spPr>
              <a:xfrm>
                <a:off x="2169486" y="5458761"/>
                <a:ext cx="0" cy="256198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95074433-C199-6AB9-FD9F-8CDBCF4CE0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822418" y="5583229"/>
                <a:ext cx="347068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6E913CF-7F85-2299-719A-62DECF4D0315}"/>
                </a:ext>
              </a:extLst>
            </p:cNvPr>
            <p:cNvSpPr/>
            <p:nvPr/>
          </p:nvSpPr>
          <p:spPr>
            <a:xfrm>
              <a:off x="3044241" y="2355370"/>
              <a:ext cx="1454298" cy="607666"/>
            </a:xfrm>
            <a:prstGeom prst="roundRect">
              <a:avLst/>
            </a:prstGeom>
            <a:solidFill>
              <a:schemeClr val="bg1">
                <a:alpha val="63000"/>
              </a:schemeClr>
            </a:solidFill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Reverse 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</a:b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Transcription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0A0C0134-D7DB-EEF4-F207-F39D8FB851C0}"/>
                </a:ext>
              </a:extLst>
            </p:cNvPr>
            <p:cNvSpPr/>
            <p:nvPr/>
          </p:nvSpPr>
          <p:spPr>
            <a:xfrm>
              <a:off x="509982" y="3147936"/>
              <a:ext cx="2040300" cy="578882"/>
            </a:xfrm>
            <a:prstGeom prst="roundRect">
              <a:avLst/>
            </a:prstGeom>
            <a:solidFill>
              <a:schemeClr val="bg1">
                <a:alpha val="63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Nuclear Entry &amp; Capsid Disassembly</a:t>
              </a: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0C80E61E-5A09-3AD3-EC3E-333EBACD3E4E}"/>
                </a:ext>
              </a:extLst>
            </p:cNvPr>
            <p:cNvSpPr/>
            <p:nvPr/>
          </p:nvSpPr>
          <p:spPr>
            <a:xfrm>
              <a:off x="4795794" y="3909317"/>
              <a:ext cx="1179704" cy="340519"/>
            </a:xfrm>
            <a:prstGeom prst="roundRect">
              <a:avLst/>
            </a:prstGeom>
            <a:solidFill>
              <a:schemeClr val="bg1">
                <a:alpha val="63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Integration</a:t>
              </a: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B3CD3EA0-530E-6FCF-8345-309793D466E5}"/>
                </a:ext>
              </a:extLst>
            </p:cNvPr>
            <p:cNvSpPr/>
            <p:nvPr/>
          </p:nvSpPr>
          <p:spPr>
            <a:xfrm>
              <a:off x="3150568" y="4901728"/>
              <a:ext cx="1587059" cy="607666"/>
            </a:xfrm>
            <a:prstGeom prst="roundRect">
              <a:avLst/>
            </a:prstGeom>
            <a:solidFill>
              <a:schemeClr val="bg1">
                <a:alpha val="63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Virus Assembly &amp; Budding</a:t>
              </a:r>
            </a:p>
          </p:txBody>
        </p:sp>
        <p:sp>
          <p:nvSpPr>
            <p:cNvPr id="68" name="object 4">
              <a:extLst>
                <a:ext uri="{FF2B5EF4-FFF2-40B4-BE49-F238E27FC236}">
                  <a16:creationId xmlns:a16="http://schemas.microsoft.com/office/drawing/2014/main" id="{FCAA5D23-17CD-2280-D2B7-FF02B522DF01}"/>
                </a:ext>
              </a:extLst>
            </p:cNvPr>
            <p:cNvSpPr/>
            <p:nvPr/>
          </p:nvSpPr>
          <p:spPr>
            <a:xfrm>
              <a:off x="7420641" y="1421383"/>
              <a:ext cx="5136407" cy="3228882"/>
            </a:xfrm>
            <a:custGeom>
              <a:avLst/>
              <a:gdLst/>
              <a:ahLst/>
              <a:cxnLst/>
              <a:rect l="l" t="t" r="r" b="b"/>
              <a:pathLst>
                <a:path w="8122920" h="1489075">
                  <a:moveTo>
                    <a:pt x="0" y="1488948"/>
                  </a:moveTo>
                  <a:lnTo>
                    <a:pt x="8122920" y="1488948"/>
                  </a:lnTo>
                  <a:lnTo>
                    <a:pt x="8122920" y="0"/>
                  </a:lnTo>
                  <a:lnTo>
                    <a:pt x="0" y="0"/>
                  </a:lnTo>
                  <a:lnTo>
                    <a:pt x="0" y="1488948"/>
                  </a:lnTo>
                  <a:close/>
                </a:path>
              </a:pathLst>
            </a:custGeom>
            <a:solidFill>
              <a:srgbClr val="E7E9EC"/>
            </a:solidFill>
            <a:effectLst>
              <a:outerShdw blurRad="25400" dist="25400" dir="2700000" algn="tl" rotWithShape="0">
                <a:schemeClr val="accent1">
                  <a:alpha val="20000"/>
                </a:scheme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object 15">
              <a:extLst>
                <a:ext uri="{FF2B5EF4-FFF2-40B4-BE49-F238E27FC236}">
                  <a16:creationId xmlns:a16="http://schemas.microsoft.com/office/drawing/2014/main" id="{10C2C550-F537-F6F2-D9D8-BCDFBCDB1FBC}"/>
                </a:ext>
              </a:extLst>
            </p:cNvPr>
            <p:cNvSpPr txBox="1"/>
            <p:nvPr/>
          </p:nvSpPr>
          <p:spPr>
            <a:xfrm>
              <a:off x="7588525" y="1593741"/>
              <a:ext cx="4945951" cy="2884166"/>
            </a:xfrm>
            <a:prstGeom prst="rect">
              <a:avLst/>
            </a:prstGeom>
          </p:spPr>
          <p:txBody>
            <a:bodyPr vert="horz" wrap="square" lIns="0" tIns="38735" rIns="0" bIns="0" rtlCol="0" anchor="t">
              <a:spAutoFit/>
            </a:bodyPr>
            <a:lstStyle/>
            <a:p>
              <a:pPr marL="12700" marR="0" lvl="0" indent="-12700" algn="l" defTabSz="914400" rtl="0" eaLnBrk="1" fontAlgn="auto" latinLnBrk="0" hangingPunct="1">
                <a:lnSpc>
                  <a:spcPct val="100000"/>
                </a:lnSpc>
                <a:spcBef>
                  <a:spcPts val="305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LEN</a:t>
              </a:r>
              <a:r>
                <a:rPr kumimoji="0" lang="en-GB" sz="1600" b="1" i="0" u="none" strike="noStrike" kern="0" cap="none" spc="-5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is</a:t>
              </a:r>
              <a:r>
                <a:rPr kumimoji="0" lang="en-GB" sz="1600" b="1" i="0" u="none" strike="noStrike" kern="0" cap="none" spc="-4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a</a:t>
              </a:r>
              <a:r>
                <a:rPr kumimoji="0" lang="en-GB" sz="1600" b="1" i="0" u="none" strike="noStrike" kern="0" cap="none" spc="-5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small</a:t>
              </a:r>
              <a:r>
                <a:rPr kumimoji="0" lang="en-GB" sz="1600" b="1" i="0" u="none" strike="noStrike" kern="0" cap="none" spc="-2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molecule capsid</a:t>
              </a:r>
              <a:r>
                <a:rPr kumimoji="0" lang="en-GB" sz="1600" b="1" i="0" u="none" strike="noStrike" kern="0" cap="none" spc="-3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inhibitor</a:t>
              </a:r>
              <a:r>
                <a:rPr kumimoji="0" lang="en-GB" sz="1600" b="1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: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030A0"/>
                </a:buClr>
                <a:buSzTx/>
                <a:buFont typeface="Arial"/>
                <a:buChar char="•"/>
                <a:tabLst>
                  <a:tab pos="2185035" algn="l"/>
                  <a:tab pos="2185670" algn="l"/>
                </a:tabLst>
                <a:defRPr/>
              </a:pP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High potency (EC</a:t>
              </a:r>
              <a:r>
                <a:rPr kumimoji="0" lang="en-GB" sz="1500" b="0" i="0" u="none" strike="noStrike" kern="0" cap="none" spc="0" normalizeH="0" baseline="-21164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50</a:t>
              </a:r>
              <a:r>
                <a:rPr kumimoji="0" lang="en-GB" sz="1500" b="0" i="0" u="none" strike="noStrike" kern="0" cap="none" spc="217" normalizeH="0" baseline="-21164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=</a:t>
              </a:r>
              <a:r>
                <a:rPr kumimoji="0" lang="en-GB" sz="1500" b="0" i="0" u="none" strike="noStrike" kern="0" cap="none" spc="-5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100</a:t>
              </a:r>
              <a:r>
                <a:rPr kumimoji="0" lang="en-GB" sz="1500" b="0" i="0" u="none" strike="noStrike" kern="0" cap="none" spc="-4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-2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pM)</a:t>
              </a:r>
              <a:endPara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030A0"/>
                </a:buClr>
                <a:buSzTx/>
                <a:buFont typeface="Arial"/>
                <a:buChar char="•"/>
                <a:tabLst>
                  <a:tab pos="2185035" algn="l"/>
                  <a:tab pos="2185670" algn="l"/>
                </a:tabLst>
                <a:defRPr/>
              </a:pP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Well-characterized </a:t>
              </a:r>
              <a: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PK</a:t>
              </a:r>
              <a:r>
                <a:rPr kumimoji="0" lang="en-GB" sz="1500" b="0" i="0" u="none" strike="noStrike" kern="0" cap="none" spc="-3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including</a:t>
              </a:r>
              <a:r>
                <a:rPr kumimoji="0" lang="en-GB" sz="1500" b="0" i="0" u="none" strike="noStrike" kern="0" cap="none" spc="-3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a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long</a:t>
              </a:r>
              <a:r>
                <a:rPr kumimoji="0" lang="en-GB" sz="1500" b="0" i="0" u="none" strike="noStrike" kern="0" cap="none" spc="-4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half-</a:t>
              </a:r>
              <a:r>
                <a:rPr kumimoji="0" lang="en-GB" sz="1500" b="0" i="0" u="none" strike="noStrike" kern="0" cap="none" spc="-2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life</a:t>
              </a:r>
              <a:endPara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030A0"/>
                </a:buClr>
                <a:buSzTx/>
                <a:buFont typeface="Arial"/>
                <a:buChar char="•"/>
                <a:tabLst>
                  <a:tab pos="2185035" algn="l"/>
                  <a:tab pos="2185670" algn="l"/>
                </a:tabLst>
                <a:defRPr/>
              </a:pP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Potential for a flexible</a:t>
              </a:r>
              <a:r>
                <a:rPr kumimoji="0" lang="en-GB" sz="1500" b="0" i="0" u="none" strike="noStrike" kern="0" cap="none" spc="-3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dosing</a:t>
              </a:r>
              <a:r>
                <a:rPr kumimoji="0" lang="en-GB" sz="1500" b="0" i="0" u="none" strike="noStrike" kern="0" cap="none" spc="-4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profile</a:t>
              </a:r>
              <a:r>
                <a:rPr kumimoji="0" lang="en-GB" sz="1500" b="0" i="0" u="none" strike="noStrike" kern="0" cap="none" spc="-2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br>
                <a:rPr kumimoji="0" lang="en-GB" sz="1500" b="0" i="0" u="none" strike="noStrike" kern="0" cap="none" spc="-2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</a:b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(oral</a:t>
              </a:r>
              <a:r>
                <a:rPr kumimoji="0" lang="en-GB" sz="1500" b="0" i="0" u="none" strike="noStrike" kern="0" cap="none" spc="-3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or</a:t>
              </a:r>
              <a:r>
                <a:rPr kumimoji="0" lang="en-GB" sz="1500" b="0" i="0" u="none" strike="noStrike" kern="0" cap="none" spc="-45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</a:t>
              </a:r>
              <a: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injectable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030A0"/>
                </a:buClr>
                <a:buSzTx/>
                <a:buFont typeface="Arial"/>
                <a:buChar char="•"/>
                <a:tabLst>
                  <a:tab pos="2185035" algn="l"/>
                  <a:tab pos="2185670" algn="l"/>
                </a:tabLst>
                <a:defRPr/>
              </a:pPr>
              <a: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Approved in combination with an optimized background regimen for HIV treatment in persons with multidrug-resistant HIV-1 infection in Australia, Canada, Europe, Israel, Switzerland, The United </a:t>
              </a:r>
              <a:b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</a:br>
              <a:r>
                <a:rPr kumimoji="0" lang="en-GB" sz="1500" b="0" i="0" u="none" strike="noStrike" kern="0" cap="none" spc="-10" normalizeH="0" baseline="0" noProof="0" dirty="0">
                  <a:ln>
                    <a:noFill/>
                  </a:ln>
                  <a:solidFill>
                    <a:srgbClr val="203661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Arab Emirates, United Kingdom and United States</a:t>
              </a:r>
            </a:p>
          </p:txBody>
        </p:sp>
        <p:sp>
          <p:nvSpPr>
            <p:cNvPr id="70" name="object 28">
              <a:extLst>
                <a:ext uri="{FF2B5EF4-FFF2-40B4-BE49-F238E27FC236}">
                  <a16:creationId xmlns:a16="http://schemas.microsoft.com/office/drawing/2014/main" id="{599AB893-4B24-7C9F-8609-6E3E35F982B1}"/>
                </a:ext>
              </a:extLst>
            </p:cNvPr>
            <p:cNvSpPr txBox="1"/>
            <p:nvPr/>
          </p:nvSpPr>
          <p:spPr>
            <a:xfrm>
              <a:off x="7431140" y="4803412"/>
              <a:ext cx="5136406" cy="1311216"/>
            </a:xfrm>
            <a:prstGeom prst="rect">
              <a:avLst/>
            </a:prstGeom>
            <a:solidFill>
              <a:srgbClr val="7030A0"/>
            </a:solidFill>
            <a:effectLst/>
          </p:spPr>
          <p:txBody>
            <a:bodyPr vert="horz" wrap="square" lIns="108000" tIns="72000" rIns="72000" bIns="7200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/>
              </a:endParaRPr>
            </a:p>
            <a:p>
              <a:pPr marL="182563" marR="0" lvl="0" indent="-18256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object 15">
              <a:extLst>
                <a:ext uri="{FF2B5EF4-FFF2-40B4-BE49-F238E27FC236}">
                  <a16:creationId xmlns:a16="http://schemas.microsoft.com/office/drawing/2014/main" id="{4D382618-1109-4056-CF0D-8373039E9E24}"/>
                </a:ext>
              </a:extLst>
            </p:cNvPr>
            <p:cNvSpPr txBox="1"/>
            <p:nvPr/>
          </p:nvSpPr>
          <p:spPr>
            <a:xfrm>
              <a:off x="7433193" y="4921562"/>
              <a:ext cx="4917492" cy="1074915"/>
            </a:xfrm>
            <a:prstGeom prst="rect">
              <a:avLst/>
            </a:prstGeom>
          </p:spPr>
          <p:txBody>
            <a:bodyPr vert="horz" wrap="square" lIns="0" tIns="38735" rIns="0" bIns="0" rtlCol="0" anchor="t">
              <a:spAutoFit/>
            </a:bodyPr>
            <a:lstStyle/>
            <a:p>
              <a:pPr marL="1825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900"/>
                </a:spcAft>
                <a:buClr>
                  <a:srgbClr val="FFFFFF"/>
                </a:buClr>
                <a:buSzTx/>
                <a:buFontTx/>
                <a:buNone/>
                <a:tabLst>
                  <a:tab pos="2185035" algn="l"/>
                  <a:tab pos="2185670" algn="l"/>
                </a:tabLst>
                <a:defRPr/>
              </a:pPr>
              <a:r>
                <a:rPr kumimoji="0" lang="en-GB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LEN</a:t>
              </a: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Trebuchet MS"/>
                </a:rPr>
                <a:t> (twice yearly, subcutaneous, single agent) is being studied for HIV prevention (PrEP)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C4E0487-75A9-FF39-D6F1-AA0B8329D1F0}"/>
              </a:ext>
            </a:extLst>
          </p:cNvPr>
          <p:cNvGrpSpPr>
            <a:grpSpLocks noChangeAspect="1"/>
          </p:cNvGrpSpPr>
          <p:nvPr/>
        </p:nvGrpSpPr>
        <p:grpSpPr>
          <a:xfrm>
            <a:off x="4486599" y="6098792"/>
            <a:ext cx="5352968" cy="676293"/>
            <a:chOff x="5754915" y="6114973"/>
            <a:chExt cx="5129020" cy="648000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14E80CE-C829-538A-9002-035ADB155974}"/>
                </a:ext>
              </a:extLst>
            </p:cNvPr>
            <p:cNvSpPr txBox="1"/>
            <p:nvPr/>
          </p:nvSpPr>
          <p:spPr>
            <a:xfrm>
              <a:off x="6459281" y="6418310"/>
              <a:ext cx="4424654" cy="2654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Scan QR code for MOA video</a:t>
              </a:r>
            </a:p>
          </p:txBody>
        </p:sp>
        <p:pic>
          <p:nvPicPr>
            <p:cNvPr id="75" name="Picture 74" descr="Qr code&#10;&#10;Description automatically generated">
              <a:extLst>
                <a:ext uri="{FF2B5EF4-FFF2-40B4-BE49-F238E27FC236}">
                  <a16:creationId xmlns:a16="http://schemas.microsoft.com/office/drawing/2014/main" id="{D298B945-5837-C3D2-820D-EB0404A8E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4915" y="6114973"/>
              <a:ext cx="648000" cy="648000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50369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3F67EC09-E4CC-44E1-ACC5-12D700673493}"/>
              </a:ext>
            </a:extLst>
          </p:cNvPr>
          <p:cNvSpPr/>
          <p:nvPr/>
        </p:nvSpPr>
        <p:spPr>
          <a:xfrm>
            <a:off x="0" y="5463723"/>
            <a:ext cx="12199951" cy="1394278"/>
          </a:xfrm>
          <a:prstGeom prst="rect">
            <a:avLst/>
          </a:prstGeom>
          <a:solidFill>
            <a:schemeClr val="accent1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B89371D-3345-4084-AFF3-1BCC300DC1F2}"/>
              </a:ext>
            </a:extLst>
          </p:cNvPr>
          <p:cNvSpPr/>
          <p:nvPr/>
        </p:nvSpPr>
        <p:spPr>
          <a:xfrm>
            <a:off x="-5260" y="0"/>
            <a:ext cx="12195136" cy="5463721"/>
          </a:xfrm>
          <a:prstGeom prst="rect">
            <a:avLst/>
          </a:prstGeom>
          <a:gradFill flip="none" rotWithShape="1">
            <a:gsLst>
              <a:gs pos="0">
                <a:srgbClr val="FEF298"/>
              </a:gs>
              <a:gs pos="41000">
                <a:schemeClr val="accent5">
                  <a:lumMod val="20000"/>
                  <a:lumOff val="80000"/>
                  <a:shade val="100000"/>
                  <a:satMod val="115000"/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D9C138-BBDA-4719-9BEA-C7A7087A2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987019"/>
          </a:xfrm>
        </p:spPr>
        <p:txBody>
          <a:bodyPr/>
          <a:lstStyle/>
          <a:p>
            <a:pPr algn="ctr"/>
            <a:r>
              <a:rPr lang="en-US" dirty="0"/>
              <a:t>Lenacapavir for </a:t>
            </a:r>
            <a:r>
              <a:rPr lang="en-US" dirty="0" err="1"/>
              <a:t>PrEP</a:t>
            </a:r>
            <a:r>
              <a:rPr lang="en-US" dirty="0"/>
              <a:t>: Prevention with PURPOSE</a:t>
            </a:r>
            <a:endParaRPr lang="en-IN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C29A3C8-EEE2-4C98-B102-5F0FF127547E}"/>
              </a:ext>
            </a:extLst>
          </p:cNvPr>
          <p:cNvGrpSpPr/>
          <p:nvPr/>
        </p:nvGrpSpPr>
        <p:grpSpPr>
          <a:xfrm>
            <a:off x="2584877" y="1373716"/>
            <a:ext cx="7206823" cy="5282686"/>
            <a:chOff x="2584877" y="1373716"/>
            <a:chExt cx="7206823" cy="5282686"/>
          </a:xfrm>
          <a:solidFill>
            <a:srgbClr val="203661"/>
          </a:solidFill>
        </p:grpSpPr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8C4CA3EA-F75E-40B8-8776-21F437028D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84877" y="5148500"/>
              <a:ext cx="6519672" cy="1507902"/>
            </a:xfrm>
            <a:custGeom>
              <a:avLst/>
              <a:gdLst>
                <a:gd name="connsiteX0" fmla="*/ 2292916 w 4885943"/>
                <a:gd name="connsiteY0" fmla="*/ -294 h 1130045"/>
                <a:gd name="connsiteX1" fmla="*/ 2474843 w 4885943"/>
                <a:gd name="connsiteY1" fmla="*/ -294 h 1130045"/>
                <a:gd name="connsiteX2" fmla="*/ 2477510 w 4885943"/>
                <a:gd name="connsiteY2" fmla="*/ 60190 h 1130045"/>
                <a:gd name="connsiteX3" fmla="*/ 2487035 w 4885943"/>
                <a:gd name="connsiteY3" fmla="*/ 273264 h 1130045"/>
                <a:gd name="connsiteX4" fmla="*/ 2491988 w 4885943"/>
                <a:gd name="connsiteY4" fmla="*/ 379849 h 1130045"/>
                <a:gd name="connsiteX5" fmla="*/ 2573332 w 4885943"/>
                <a:gd name="connsiteY5" fmla="*/ 411186 h 1130045"/>
                <a:gd name="connsiteX6" fmla="*/ 2643055 w 4885943"/>
                <a:gd name="connsiteY6" fmla="*/ 448048 h 1130045"/>
                <a:gd name="connsiteX7" fmla="*/ 2698776 w 4885943"/>
                <a:gd name="connsiteY7" fmla="*/ 509580 h 1130045"/>
                <a:gd name="connsiteX8" fmla="*/ 2830126 w 4885943"/>
                <a:gd name="connsiteY8" fmla="*/ 549584 h 1130045"/>
                <a:gd name="connsiteX9" fmla="*/ 2989955 w 4885943"/>
                <a:gd name="connsiteY9" fmla="*/ 554252 h 1130045"/>
                <a:gd name="connsiteX10" fmla="*/ 3313329 w 4885943"/>
                <a:gd name="connsiteY10" fmla="*/ 549584 h 1130045"/>
                <a:gd name="connsiteX11" fmla="*/ 3475254 w 4885943"/>
                <a:gd name="connsiteY11" fmla="*/ 551966 h 1130045"/>
                <a:gd name="connsiteX12" fmla="*/ 3568885 w 4885943"/>
                <a:gd name="connsiteY12" fmla="*/ 557395 h 1130045"/>
                <a:gd name="connsiteX13" fmla="*/ 3568885 w 4885943"/>
                <a:gd name="connsiteY13" fmla="*/ 557395 h 1130045"/>
                <a:gd name="connsiteX14" fmla="*/ 3636417 w 4885943"/>
                <a:gd name="connsiteY14" fmla="*/ 561300 h 1130045"/>
                <a:gd name="connsiteX15" fmla="*/ 3957886 w 4885943"/>
                <a:gd name="connsiteY15" fmla="*/ 615212 h 1130045"/>
                <a:gd name="connsiteX16" fmla="*/ 4270211 w 4885943"/>
                <a:gd name="connsiteY16" fmla="*/ 725226 h 1130045"/>
                <a:gd name="connsiteX17" fmla="*/ 4420896 w 4885943"/>
                <a:gd name="connsiteY17" fmla="*/ 804855 h 1130045"/>
                <a:gd name="connsiteX18" fmla="*/ 4569677 w 4885943"/>
                <a:gd name="connsiteY18" fmla="*/ 879816 h 1130045"/>
                <a:gd name="connsiteX19" fmla="*/ 4725887 w 4885943"/>
                <a:gd name="connsiteY19" fmla="*/ 926680 h 1130045"/>
                <a:gd name="connsiteX20" fmla="*/ 4885716 w 4885943"/>
                <a:gd name="connsiteY20" fmla="*/ 926680 h 1130045"/>
                <a:gd name="connsiteX21" fmla="*/ 4885716 w 4885943"/>
                <a:gd name="connsiteY21" fmla="*/ 936205 h 1130045"/>
                <a:gd name="connsiteX22" fmla="*/ 4723791 w 4885943"/>
                <a:gd name="connsiteY22" fmla="*/ 940967 h 1130045"/>
                <a:gd name="connsiteX23" fmla="*/ 4566438 w 4885943"/>
                <a:gd name="connsiteY23" fmla="*/ 898866 h 1130045"/>
                <a:gd name="connsiteX24" fmla="*/ 4414038 w 4885943"/>
                <a:gd name="connsiteY24" fmla="*/ 826286 h 1130045"/>
                <a:gd name="connsiteX25" fmla="*/ 4339362 w 4885943"/>
                <a:gd name="connsiteY25" fmla="*/ 788186 h 1130045"/>
                <a:gd name="connsiteX26" fmla="*/ 4318122 w 4885943"/>
                <a:gd name="connsiteY26" fmla="*/ 778661 h 1130045"/>
                <a:gd name="connsiteX27" fmla="*/ 4385463 w 4885943"/>
                <a:gd name="connsiteY27" fmla="*/ 844669 h 1130045"/>
                <a:gd name="connsiteX28" fmla="*/ 4461663 w 4885943"/>
                <a:gd name="connsiteY28" fmla="*/ 1004975 h 1130045"/>
                <a:gd name="connsiteX29" fmla="*/ 4452138 w 4885943"/>
                <a:gd name="connsiteY29" fmla="*/ 1007356 h 1130045"/>
                <a:gd name="connsiteX30" fmla="*/ 4267639 w 4885943"/>
                <a:gd name="connsiteY30" fmla="*/ 757134 h 1130045"/>
                <a:gd name="connsiteX31" fmla="*/ 4229539 w 4885943"/>
                <a:gd name="connsiteY31" fmla="*/ 740942 h 1130045"/>
                <a:gd name="connsiteX32" fmla="*/ 4110000 w 4885943"/>
                <a:gd name="connsiteY32" fmla="*/ 695508 h 1130045"/>
                <a:gd name="connsiteX33" fmla="*/ 3952742 w 4885943"/>
                <a:gd name="connsiteY33" fmla="*/ 653026 h 1130045"/>
                <a:gd name="connsiteX34" fmla="*/ 3861588 w 4885943"/>
                <a:gd name="connsiteY34" fmla="*/ 637405 h 1130045"/>
                <a:gd name="connsiteX35" fmla="*/ 3876542 w 4885943"/>
                <a:gd name="connsiteY35" fmla="*/ 643311 h 1130045"/>
                <a:gd name="connsiteX36" fmla="*/ 3896259 w 4885943"/>
                <a:gd name="connsiteY36" fmla="*/ 651216 h 1130045"/>
                <a:gd name="connsiteX37" fmla="*/ 3938360 w 4885943"/>
                <a:gd name="connsiteY37" fmla="*/ 674553 h 1130045"/>
                <a:gd name="connsiteX38" fmla="*/ 4092760 w 4885943"/>
                <a:gd name="connsiteY38" fmla="*/ 793806 h 1130045"/>
                <a:gd name="connsiteX39" fmla="*/ 4109143 w 4885943"/>
                <a:gd name="connsiteY39" fmla="*/ 810189 h 1130045"/>
                <a:gd name="connsiteX40" fmla="*/ 4125526 w 4885943"/>
                <a:gd name="connsiteY40" fmla="*/ 829239 h 1130045"/>
                <a:gd name="connsiteX41" fmla="*/ 4154101 w 4885943"/>
                <a:gd name="connsiteY41" fmla="*/ 868958 h 1130045"/>
                <a:gd name="connsiteX42" fmla="*/ 4205536 w 4885943"/>
                <a:gd name="connsiteY42" fmla="*/ 950778 h 1130045"/>
                <a:gd name="connsiteX43" fmla="*/ 4198582 w 4885943"/>
                <a:gd name="connsiteY43" fmla="*/ 955445 h 1130045"/>
                <a:gd name="connsiteX44" fmla="*/ 4142385 w 4885943"/>
                <a:gd name="connsiteY44" fmla="*/ 876006 h 1130045"/>
                <a:gd name="connsiteX45" fmla="*/ 4112000 w 4885943"/>
                <a:gd name="connsiteY45" fmla="*/ 840955 h 1130045"/>
                <a:gd name="connsiteX46" fmla="*/ 4097904 w 4885943"/>
                <a:gd name="connsiteY46" fmla="*/ 821905 h 1130045"/>
                <a:gd name="connsiteX47" fmla="*/ 4081520 w 4885943"/>
                <a:gd name="connsiteY47" fmla="*/ 805521 h 1130045"/>
                <a:gd name="connsiteX48" fmla="*/ 3927120 w 4885943"/>
                <a:gd name="connsiteY48" fmla="*/ 698080 h 1130045"/>
                <a:gd name="connsiteX49" fmla="*/ 3882638 w 4885943"/>
                <a:gd name="connsiteY49" fmla="*/ 679030 h 1130045"/>
                <a:gd name="connsiteX50" fmla="*/ 3840538 w 4885943"/>
                <a:gd name="connsiteY50" fmla="*/ 662742 h 1130045"/>
                <a:gd name="connsiteX51" fmla="*/ 3749288 w 4885943"/>
                <a:gd name="connsiteY51" fmla="*/ 637024 h 1130045"/>
                <a:gd name="connsiteX52" fmla="*/ 3656610 w 4885943"/>
                <a:gd name="connsiteY52" fmla="*/ 616831 h 1130045"/>
                <a:gd name="connsiteX53" fmla="*/ 3613652 w 4885943"/>
                <a:gd name="connsiteY53" fmla="*/ 610068 h 1130045"/>
                <a:gd name="connsiteX54" fmla="*/ 3474968 w 4885943"/>
                <a:gd name="connsiteY54" fmla="*/ 605782 h 1130045"/>
                <a:gd name="connsiteX55" fmla="*/ 3313043 w 4885943"/>
                <a:gd name="connsiteY55" fmla="*/ 608163 h 1130045"/>
                <a:gd name="connsiteX56" fmla="*/ 2991955 w 4885943"/>
                <a:gd name="connsiteY56" fmla="*/ 622641 h 1130045"/>
                <a:gd name="connsiteX57" fmla="*/ 2893086 w 4885943"/>
                <a:gd name="connsiteY57" fmla="*/ 622641 h 1130045"/>
                <a:gd name="connsiteX58" fmla="*/ 2909945 w 4885943"/>
                <a:gd name="connsiteY58" fmla="*/ 626070 h 1130045"/>
                <a:gd name="connsiteX59" fmla="*/ 3009101 w 4885943"/>
                <a:gd name="connsiteY59" fmla="*/ 648835 h 1130045"/>
                <a:gd name="connsiteX60" fmla="*/ 3205601 w 4885943"/>
                <a:gd name="connsiteY60" fmla="*/ 705128 h 1130045"/>
                <a:gd name="connsiteX61" fmla="*/ 3300375 w 4885943"/>
                <a:gd name="connsiteY61" fmla="*/ 739037 h 1130045"/>
                <a:gd name="connsiteX62" fmla="*/ 3325616 w 4885943"/>
                <a:gd name="connsiteY62" fmla="*/ 749991 h 1130045"/>
                <a:gd name="connsiteX63" fmla="*/ 3366193 w 4885943"/>
                <a:gd name="connsiteY63" fmla="*/ 761801 h 1130045"/>
                <a:gd name="connsiteX64" fmla="*/ 3443917 w 4885943"/>
                <a:gd name="connsiteY64" fmla="*/ 779899 h 1130045"/>
                <a:gd name="connsiteX65" fmla="*/ 3598222 w 4885943"/>
                <a:gd name="connsiteY65" fmla="*/ 819618 h 1130045"/>
                <a:gd name="connsiteX66" fmla="*/ 3752432 w 4885943"/>
                <a:gd name="connsiteY66" fmla="*/ 864005 h 1130045"/>
                <a:gd name="connsiteX67" fmla="*/ 3899688 w 4885943"/>
                <a:gd name="connsiteY67" fmla="*/ 927060 h 1130045"/>
                <a:gd name="connsiteX68" fmla="*/ 3895021 w 4885943"/>
                <a:gd name="connsiteY68" fmla="*/ 936585 h 1130045"/>
                <a:gd name="connsiteX69" fmla="*/ 3745479 w 4885943"/>
                <a:gd name="connsiteY69" fmla="*/ 879816 h 1130045"/>
                <a:gd name="connsiteX70" fmla="*/ 3591173 w 4885943"/>
                <a:gd name="connsiteY70" fmla="*/ 842383 h 1130045"/>
                <a:gd name="connsiteX71" fmla="*/ 3467348 w 4885943"/>
                <a:gd name="connsiteY71" fmla="*/ 817999 h 1130045"/>
                <a:gd name="connsiteX72" fmla="*/ 3484684 w 4885943"/>
                <a:gd name="connsiteY72" fmla="*/ 827524 h 1130045"/>
                <a:gd name="connsiteX73" fmla="*/ 3568599 w 4885943"/>
                <a:gd name="connsiteY73" fmla="*/ 887532 h 1130045"/>
                <a:gd name="connsiteX74" fmla="*/ 3606032 w 4885943"/>
                <a:gd name="connsiteY74" fmla="*/ 920298 h 1130045"/>
                <a:gd name="connsiteX75" fmla="*/ 3625082 w 4885943"/>
                <a:gd name="connsiteY75" fmla="*/ 941443 h 1130045"/>
                <a:gd name="connsiteX76" fmla="*/ 3641465 w 4885943"/>
                <a:gd name="connsiteY76" fmla="*/ 960493 h 1130045"/>
                <a:gd name="connsiteX77" fmla="*/ 3690614 w 4885943"/>
                <a:gd name="connsiteY77" fmla="*/ 1049552 h 1130045"/>
                <a:gd name="connsiteX78" fmla="*/ 3683566 w 4885943"/>
                <a:gd name="connsiteY78" fmla="*/ 1051838 h 1130045"/>
                <a:gd name="connsiteX79" fmla="*/ 3627464 w 4885943"/>
                <a:gd name="connsiteY79" fmla="*/ 972209 h 1130045"/>
                <a:gd name="connsiteX80" fmla="*/ 3611080 w 4885943"/>
                <a:gd name="connsiteY80" fmla="*/ 953159 h 1130045"/>
                <a:gd name="connsiteX81" fmla="*/ 3592030 w 4885943"/>
                <a:gd name="connsiteY81" fmla="*/ 936776 h 1130045"/>
                <a:gd name="connsiteX82" fmla="*/ 3554597 w 4885943"/>
                <a:gd name="connsiteY82" fmla="*/ 906391 h 1130045"/>
                <a:gd name="connsiteX83" fmla="*/ 3379147 w 4885943"/>
                <a:gd name="connsiteY83" fmla="*/ 817332 h 1130045"/>
                <a:gd name="connsiteX84" fmla="*/ 3189218 w 4885943"/>
                <a:gd name="connsiteY84" fmla="*/ 755991 h 1130045"/>
                <a:gd name="connsiteX85" fmla="*/ 2995099 w 4885943"/>
                <a:gd name="connsiteY85" fmla="*/ 716177 h 1130045"/>
                <a:gd name="connsiteX86" fmla="*/ 2949379 w 4885943"/>
                <a:gd name="connsiteY86" fmla="*/ 710176 h 1130045"/>
                <a:gd name="connsiteX87" fmla="*/ 2982145 w 4885943"/>
                <a:gd name="connsiteY87" fmla="*/ 738751 h 1130045"/>
                <a:gd name="connsiteX88" fmla="*/ 3027484 w 4885943"/>
                <a:gd name="connsiteY88" fmla="*/ 788281 h 1130045"/>
                <a:gd name="connsiteX89" fmla="*/ 3097683 w 4885943"/>
                <a:gd name="connsiteY89" fmla="*/ 900867 h 1130045"/>
                <a:gd name="connsiteX90" fmla="*/ 3098350 w 4885943"/>
                <a:gd name="connsiteY90" fmla="*/ 902772 h 1130045"/>
                <a:gd name="connsiteX91" fmla="*/ 3159500 w 4885943"/>
                <a:gd name="connsiteY91" fmla="*/ 940205 h 1130045"/>
                <a:gd name="connsiteX92" fmla="*/ 3221698 w 4885943"/>
                <a:gd name="connsiteY92" fmla="*/ 982972 h 1130045"/>
                <a:gd name="connsiteX93" fmla="*/ 3329236 w 4885943"/>
                <a:gd name="connsiteY93" fmla="*/ 1088223 h 1130045"/>
                <a:gd name="connsiteX94" fmla="*/ 3322187 w 4885943"/>
                <a:gd name="connsiteY94" fmla="*/ 1095272 h 1130045"/>
                <a:gd name="connsiteX95" fmla="*/ 3212364 w 4885943"/>
                <a:gd name="connsiteY95" fmla="*/ 994688 h 1130045"/>
                <a:gd name="connsiteX96" fmla="*/ 3149880 w 4885943"/>
                <a:gd name="connsiteY96" fmla="*/ 955445 h 1130045"/>
                <a:gd name="connsiteX97" fmla="*/ 3109875 w 4885943"/>
                <a:gd name="connsiteY97" fmla="*/ 933823 h 1130045"/>
                <a:gd name="connsiteX98" fmla="*/ 3116352 w 4885943"/>
                <a:gd name="connsiteY98" fmla="*/ 966494 h 1130045"/>
                <a:gd name="connsiteX99" fmla="*/ 3116352 w 4885943"/>
                <a:gd name="connsiteY99" fmla="*/ 999355 h 1130045"/>
                <a:gd name="connsiteX100" fmla="*/ 3106827 w 4885943"/>
                <a:gd name="connsiteY100" fmla="*/ 1032216 h 1130045"/>
                <a:gd name="connsiteX101" fmla="*/ 3097302 w 4885943"/>
                <a:gd name="connsiteY101" fmla="*/ 1029835 h 1130045"/>
                <a:gd name="connsiteX102" fmla="*/ 3101970 w 4885943"/>
                <a:gd name="connsiteY102" fmla="*/ 999355 h 1130045"/>
                <a:gd name="connsiteX103" fmla="*/ 3099588 w 4885943"/>
                <a:gd name="connsiteY103" fmla="*/ 968875 h 1130045"/>
                <a:gd name="connsiteX104" fmla="*/ 3076252 w 4885943"/>
                <a:gd name="connsiteY104" fmla="*/ 910201 h 1130045"/>
                <a:gd name="connsiteX105" fmla="*/ 2999004 w 4885943"/>
                <a:gd name="connsiteY105" fmla="*/ 814094 h 1130045"/>
                <a:gd name="connsiteX106" fmla="*/ 2898420 w 4885943"/>
                <a:gd name="connsiteY106" fmla="*/ 739037 h 1130045"/>
                <a:gd name="connsiteX107" fmla="*/ 2845556 w 4885943"/>
                <a:gd name="connsiteY107" fmla="*/ 706842 h 1130045"/>
                <a:gd name="connsiteX108" fmla="*/ 2819839 w 4885943"/>
                <a:gd name="connsiteY108" fmla="*/ 693317 h 1130045"/>
                <a:gd name="connsiteX109" fmla="*/ 2795836 w 4885943"/>
                <a:gd name="connsiteY109" fmla="*/ 690174 h 1130045"/>
                <a:gd name="connsiteX110" fmla="*/ 2590000 w 4885943"/>
                <a:gd name="connsiteY110" fmla="*/ 647978 h 1130045"/>
                <a:gd name="connsiteX111" fmla="*/ 2489417 w 4885943"/>
                <a:gd name="connsiteY111" fmla="*/ 594162 h 1130045"/>
                <a:gd name="connsiteX112" fmla="*/ 2443792 w 4885943"/>
                <a:gd name="connsiteY112" fmla="*/ 556633 h 1130045"/>
                <a:gd name="connsiteX113" fmla="*/ 2421980 w 4885943"/>
                <a:gd name="connsiteY113" fmla="*/ 531582 h 1130045"/>
                <a:gd name="connsiteX114" fmla="*/ 2393405 w 4885943"/>
                <a:gd name="connsiteY114" fmla="*/ 551585 h 1130045"/>
                <a:gd name="connsiteX115" fmla="*/ 2311585 w 4885943"/>
                <a:gd name="connsiteY115" fmla="*/ 636167 h 1130045"/>
                <a:gd name="connsiteX116" fmla="*/ 2269580 w 4885943"/>
                <a:gd name="connsiteY116" fmla="*/ 675886 h 1130045"/>
                <a:gd name="connsiteX117" fmla="*/ 2250530 w 4885943"/>
                <a:gd name="connsiteY117" fmla="*/ 696936 h 1130045"/>
                <a:gd name="connsiteX118" fmla="*/ 2229479 w 4885943"/>
                <a:gd name="connsiteY118" fmla="*/ 717987 h 1130045"/>
                <a:gd name="connsiteX119" fmla="*/ 2213192 w 4885943"/>
                <a:gd name="connsiteY119" fmla="*/ 737703 h 1130045"/>
                <a:gd name="connsiteX120" fmla="*/ 2206334 w 4885943"/>
                <a:gd name="connsiteY120" fmla="*/ 757706 h 1130045"/>
                <a:gd name="connsiteX121" fmla="*/ 2199571 w 4885943"/>
                <a:gd name="connsiteY121" fmla="*/ 792948 h 1130045"/>
                <a:gd name="connsiteX122" fmla="*/ 2204238 w 4885943"/>
                <a:gd name="connsiteY122" fmla="*/ 865719 h 1130045"/>
                <a:gd name="connsiteX123" fmla="*/ 2232813 w 4885943"/>
                <a:gd name="connsiteY123" fmla="*/ 933728 h 1130045"/>
                <a:gd name="connsiteX124" fmla="*/ 2267960 w 4885943"/>
                <a:gd name="connsiteY124" fmla="*/ 1004213 h 1130045"/>
                <a:gd name="connsiteX125" fmla="*/ 2258435 w 4885943"/>
                <a:gd name="connsiteY125" fmla="*/ 1006594 h 1130045"/>
                <a:gd name="connsiteX126" fmla="*/ 2218525 w 4885943"/>
                <a:gd name="connsiteY126" fmla="*/ 943158 h 1130045"/>
                <a:gd name="connsiteX127" fmla="*/ 2183378 w 4885943"/>
                <a:gd name="connsiteY127" fmla="*/ 870387 h 1130045"/>
                <a:gd name="connsiteX128" fmla="*/ 2172806 w 4885943"/>
                <a:gd name="connsiteY128" fmla="*/ 832287 h 1130045"/>
                <a:gd name="connsiteX129" fmla="*/ 2169662 w 4885943"/>
                <a:gd name="connsiteY129" fmla="*/ 795806 h 1130045"/>
                <a:gd name="connsiteX130" fmla="*/ 2161852 w 4885943"/>
                <a:gd name="connsiteY130" fmla="*/ 806950 h 1130045"/>
                <a:gd name="connsiteX131" fmla="*/ 2110417 w 4885943"/>
                <a:gd name="connsiteY131" fmla="*/ 907534 h 1130045"/>
                <a:gd name="connsiteX132" fmla="*/ 2070698 w 4885943"/>
                <a:gd name="connsiteY132" fmla="*/ 1129752 h 1130045"/>
                <a:gd name="connsiteX133" fmla="*/ 2061173 w 4885943"/>
                <a:gd name="connsiteY133" fmla="*/ 1129752 h 1130045"/>
                <a:gd name="connsiteX134" fmla="*/ 2084890 w 4885943"/>
                <a:gd name="connsiteY134" fmla="*/ 898866 h 1130045"/>
                <a:gd name="connsiteX135" fmla="*/ 2129372 w 4885943"/>
                <a:gd name="connsiteY135" fmla="*/ 788853 h 1130045"/>
                <a:gd name="connsiteX136" fmla="*/ 2194808 w 4885943"/>
                <a:gd name="connsiteY136" fmla="*/ 688269 h 1130045"/>
                <a:gd name="connsiteX137" fmla="*/ 2213858 w 4885943"/>
                <a:gd name="connsiteY137" fmla="*/ 664932 h 1130045"/>
                <a:gd name="connsiteX138" fmla="*/ 2232908 w 4885943"/>
                <a:gd name="connsiteY138" fmla="*/ 641501 h 1130045"/>
                <a:gd name="connsiteX139" fmla="*/ 2270342 w 4885943"/>
                <a:gd name="connsiteY139" fmla="*/ 597019 h 1130045"/>
                <a:gd name="connsiteX140" fmla="*/ 2279200 w 4885943"/>
                <a:gd name="connsiteY140" fmla="*/ 587494 h 1130045"/>
                <a:gd name="connsiteX141" fmla="*/ 2246243 w 4885943"/>
                <a:gd name="connsiteY141" fmla="*/ 599210 h 1130045"/>
                <a:gd name="connsiteX142" fmla="*/ 2159756 w 4885943"/>
                <a:gd name="connsiteY142" fmla="*/ 620355 h 1130045"/>
                <a:gd name="connsiteX143" fmla="*/ 1991354 w 4885943"/>
                <a:gd name="connsiteY143" fmla="*/ 634357 h 1130045"/>
                <a:gd name="connsiteX144" fmla="*/ 1907249 w 4885943"/>
                <a:gd name="connsiteY144" fmla="*/ 634357 h 1130045"/>
                <a:gd name="connsiteX145" fmla="*/ 1881245 w 4885943"/>
                <a:gd name="connsiteY145" fmla="*/ 632833 h 1130045"/>
                <a:gd name="connsiteX146" fmla="*/ 1838002 w 4885943"/>
                <a:gd name="connsiteY146" fmla="*/ 637119 h 1130045"/>
                <a:gd name="connsiteX147" fmla="*/ 1713415 w 4885943"/>
                <a:gd name="connsiteY147" fmla="*/ 661980 h 1130045"/>
                <a:gd name="connsiteX148" fmla="*/ 1643215 w 4885943"/>
                <a:gd name="connsiteY148" fmla="*/ 684078 h 1130045"/>
                <a:gd name="connsiteX149" fmla="*/ 1621975 w 4885943"/>
                <a:gd name="connsiteY149" fmla="*/ 704747 h 1130045"/>
                <a:gd name="connsiteX150" fmla="*/ 1595972 w 4885943"/>
                <a:gd name="connsiteY150" fmla="*/ 743704 h 1130045"/>
                <a:gd name="connsiteX151" fmla="*/ 1558538 w 4885943"/>
                <a:gd name="connsiteY151" fmla="*/ 835239 h 1130045"/>
                <a:gd name="connsiteX152" fmla="*/ 1528153 w 4885943"/>
                <a:gd name="connsiteY152" fmla="*/ 933728 h 1130045"/>
                <a:gd name="connsiteX153" fmla="*/ 1503293 w 4885943"/>
                <a:gd name="connsiteY153" fmla="*/ 1032216 h 1130045"/>
                <a:gd name="connsiteX154" fmla="*/ 1493768 w 4885943"/>
                <a:gd name="connsiteY154" fmla="*/ 1029835 h 1130045"/>
                <a:gd name="connsiteX155" fmla="*/ 1514818 w 4885943"/>
                <a:gd name="connsiteY155" fmla="*/ 928965 h 1130045"/>
                <a:gd name="connsiteX156" fmla="*/ 1535869 w 4885943"/>
                <a:gd name="connsiteY156" fmla="*/ 830382 h 1130045"/>
                <a:gd name="connsiteX157" fmla="*/ 1568540 w 4885943"/>
                <a:gd name="connsiteY157" fmla="*/ 729512 h 1130045"/>
                <a:gd name="connsiteX158" fmla="*/ 1584923 w 4885943"/>
                <a:gd name="connsiteY158" fmla="*/ 703413 h 1130045"/>
                <a:gd name="connsiteX159" fmla="*/ 1475480 w 4885943"/>
                <a:gd name="connsiteY159" fmla="*/ 753229 h 1130045"/>
                <a:gd name="connsiteX160" fmla="*/ 1264978 w 4885943"/>
                <a:gd name="connsiteY160" fmla="*/ 900867 h 1130045"/>
                <a:gd name="connsiteX161" fmla="*/ 1073144 w 4885943"/>
                <a:gd name="connsiteY161" fmla="*/ 1076508 h 1130045"/>
                <a:gd name="connsiteX162" fmla="*/ 1066191 w 4885943"/>
                <a:gd name="connsiteY162" fmla="*/ 1069555 h 1130045"/>
                <a:gd name="connsiteX163" fmla="*/ 1250976 w 4885943"/>
                <a:gd name="connsiteY163" fmla="*/ 884484 h 1130045"/>
                <a:gd name="connsiteX164" fmla="*/ 1327176 w 4885943"/>
                <a:gd name="connsiteY164" fmla="*/ 819809 h 1130045"/>
                <a:gd name="connsiteX165" fmla="*/ 1286409 w 4885943"/>
                <a:gd name="connsiteY165" fmla="*/ 830286 h 1130045"/>
                <a:gd name="connsiteX166" fmla="*/ 1185825 w 4885943"/>
                <a:gd name="connsiteY166" fmla="*/ 841907 h 1130045"/>
                <a:gd name="connsiteX167" fmla="*/ 1082955 w 4885943"/>
                <a:gd name="connsiteY167" fmla="*/ 834954 h 1130045"/>
                <a:gd name="connsiteX168" fmla="*/ 984657 w 4885943"/>
                <a:gd name="connsiteY168" fmla="*/ 809522 h 1130045"/>
                <a:gd name="connsiteX169" fmla="*/ 987038 w 4885943"/>
                <a:gd name="connsiteY169" fmla="*/ 799997 h 1130045"/>
                <a:gd name="connsiteX170" fmla="*/ 1085241 w 4885943"/>
                <a:gd name="connsiteY170" fmla="*/ 820761 h 1130045"/>
                <a:gd name="connsiteX171" fmla="*/ 1183539 w 4885943"/>
                <a:gd name="connsiteY171" fmla="*/ 823143 h 1130045"/>
                <a:gd name="connsiteX172" fmla="*/ 1281742 w 4885943"/>
                <a:gd name="connsiteY172" fmla="*/ 809236 h 1130045"/>
                <a:gd name="connsiteX173" fmla="*/ 1376230 w 4885943"/>
                <a:gd name="connsiteY173" fmla="*/ 781899 h 1130045"/>
                <a:gd name="connsiteX174" fmla="*/ 1459478 w 4885943"/>
                <a:gd name="connsiteY174" fmla="*/ 724749 h 1130045"/>
                <a:gd name="connsiteX175" fmla="*/ 1576731 w 4885943"/>
                <a:gd name="connsiteY175" fmla="*/ 662932 h 1130045"/>
                <a:gd name="connsiteX176" fmla="*/ 1691983 w 4885943"/>
                <a:gd name="connsiteY176" fmla="*/ 620927 h 1130045"/>
                <a:gd name="connsiteX177" fmla="*/ 1660360 w 4885943"/>
                <a:gd name="connsiteY177" fmla="*/ 618926 h 1130045"/>
                <a:gd name="connsiteX178" fmla="*/ 1496626 w 4885943"/>
                <a:gd name="connsiteY178" fmla="*/ 605496 h 1130045"/>
                <a:gd name="connsiteX179" fmla="*/ 1332986 w 4885943"/>
                <a:gd name="connsiteY179" fmla="*/ 591495 h 1130045"/>
                <a:gd name="connsiteX180" fmla="*/ 1251166 w 4885943"/>
                <a:gd name="connsiteY180" fmla="*/ 586732 h 1130045"/>
                <a:gd name="connsiteX181" fmla="*/ 1171633 w 4885943"/>
                <a:gd name="connsiteY181" fmla="*/ 582065 h 1130045"/>
                <a:gd name="connsiteX182" fmla="*/ 853688 w 4885943"/>
                <a:gd name="connsiteY182" fmla="*/ 619593 h 1130045"/>
                <a:gd name="connsiteX183" fmla="*/ 697669 w 4885943"/>
                <a:gd name="connsiteY183" fmla="*/ 663408 h 1130045"/>
                <a:gd name="connsiteX184" fmla="*/ 574796 w 4885943"/>
                <a:gd name="connsiteY184" fmla="*/ 708366 h 1130045"/>
                <a:gd name="connsiteX185" fmla="*/ 537173 w 4885943"/>
                <a:gd name="connsiteY185" fmla="*/ 742656 h 1130045"/>
                <a:gd name="connsiteX186" fmla="*/ 492691 w 4885943"/>
                <a:gd name="connsiteY186" fmla="*/ 801140 h 1130045"/>
                <a:gd name="connsiteX187" fmla="*/ 424873 w 4885943"/>
                <a:gd name="connsiteY187" fmla="*/ 934490 h 1130045"/>
                <a:gd name="connsiteX188" fmla="*/ 415348 w 4885943"/>
                <a:gd name="connsiteY188" fmla="*/ 929727 h 1130045"/>
                <a:gd name="connsiteX189" fmla="*/ 476117 w 4885943"/>
                <a:gd name="connsiteY189" fmla="*/ 791805 h 1130045"/>
                <a:gd name="connsiteX190" fmla="*/ 514217 w 4885943"/>
                <a:gd name="connsiteY190" fmla="*/ 732846 h 1130045"/>
                <a:gd name="connsiteX191" fmla="*/ 509455 w 4885943"/>
                <a:gd name="connsiteY191" fmla="*/ 734655 h 1130045"/>
                <a:gd name="connsiteX192" fmla="*/ 507073 w 4885943"/>
                <a:gd name="connsiteY192" fmla="*/ 735513 h 1130045"/>
                <a:gd name="connsiteX193" fmla="*/ 469640 w 4885943"/>
                <a:gd name="connsiteY193" fmla="*/ 751896 h 1130045"/>
                <a:gd name="connsiteX194" fmla="*/ 397155 w 4885943"/>
                <a:gd name="connsiteY194" fmla="*/ 789424 h 1130045"/>
                <a:gd name="connsiteX195" fmla="*/ 362103 w 4885943"/>
                <a:gd name="connsiteY195" fmla="*/ 808474 h 1130045"/>
                <a:gd name="connsiteX196" fmla="*/ 327051 w 4885943"/>
                <a:gd name="connsiteY196" fmla="*/ 829620 h 1130045"/>
                <a:gd name="connsiteX197" fmla="*/ 291999 w 4885943"/>
                <a:gd name="connsiteY197" fmla="*/ 848670 h 1130045"/>
                <a:gd name="connsiteX198" fmla="*/ 256947 w 4885943"/>
                <a:gd name="connsiteY198" fmla="*/ 872101 h 1130045"/>
                <a:gd name="connsiteX199" fmla="*/ 6725 w 4885943"/>
                <a:gd name="connsiteY199" fmla="*/ 1078127 h 1130045"/>
                <a:gd name="connsiteX200" fmla="*/ -228 w 4885943"/>
                <a:gd name="connsiteY200" fmla="*/ 1071174 h 1130045"/>
                <a:gd name="connsiteX201" fmla="*/ 242850 w 4885943"/>
                <a:gd name="connsiteY201" fmla="*/ 848670 h 1130045"/>
                <a:gd name="connsiteX202" fmla="*/ 275616 w 4885943"/>
                <a:gd name="connsiteY202" fmla="*/ 825238 h 1130045"/>
                <a:gd name="connsiteX203" fmla="*/ 310668 w 4885943"/>
                <a:gd name="connsiteY203" fmla="*/ 801902 h 1130045"/>
                <a:gd name="connsiteX204" fmla="*/ 345720 w 4885943"/>
                <a:gd name="connsiteY204" fmla="*/ 778470 h 1130045"/>
                <a:gd name="connsiteX205" fmla="*/ 380867 w 4885943"/>
                <a:gd name="connsiteY205" fmla="*/ 757325 h 1130045"/>
                <a:gd name="connsiteX206" fmla="*/ 453352 w 4885943"/>
                <a:gd name="connsiteY206" fmla="*/ 719892 h 1130045"/>
                <a:gd name="connsiteX207" fmla="*/ 490690 w 4885943"/>
                <a:gd name="connsiteY207" fmla="*/ 700842 h 1130045"/>
                <a:gd name="connsiteX208" fmla="*/ 509740 w 4885943"/>
                <a:gd name="connsiteY208" fmla="*/ 691317 h 1130045"/>
                <a:gd name="connsiteX209" fmla="*/ 528790 w 4885943"/>
                <a:gd name="connsiteY209" fmla="*/ 681792 h 1130045"/>
                <a:gd name="connsiteX210" fmla="*/ 682810 w 4885943"/>
                <a:gd name="connsiteY210" fmla="*/ 618831 h 1130045"/>
                <a:gd name="connsiteX211" fmla="*/ 754723 w 4885943"/>
                <a:gd name="connsiteY211" fmla="*/ 597591 h 1130045"/>
                <a:gd name="connsiteX212" fmla="*/ 663379 w 4885943"/>
                <a:gd name="connsiteY212" fmla="*/ 588923 h 1130045"/>
                <a:gd name="connsiteX213" fmla="*/ 470116 w 4885943"/>
                <a:gd name="connsiteY213" fmla="*/ 595019 h 1130045"/>
                <a:gd name="connsiteX214" fmla="*/ 96355 w 4885943"/>
                <a:gd name="connsiteY214" fmla="*/ 692936 h 1130045"/>
                <a:gd name="connsiteX215" fmla="*/ 93974 w 4885943"/>
                <a:gd name="connsiteY215" fmla="*/ 685983 h 1130045"/>
                <a:gd name="connsiteX216" fmla="*/ 467735 w 4885943"/>
                <a:gd name="connsiteY216" fmla="*/ 567015 h 1130045"/>
                <a:gd name="connsiteX217" fmla="*/ 763772 w 4885943"/>
                <a:gd name="connsiteY217" fmla="*/ 557490 h 1130045"/>
                <a:gd name="connsiteX218" fmla="*/ 850640 w 4885943"/>
                <a:gd name="connsiteY218" fmla="*/ 570254 h 1130045"/>
                <a:gd name="connsiteX219" fmla="*/ 1005231 w 4885943"/>
                <a:gd name="connsiteY219" fmla="*/ 538631 h 1130045"/>
                <a:gd name="connsiteX220" fmla="*/ 1171728 w 4885943"/>
                <a:gd name="connsiteY220" fmla="*/ 522819 h 1130045"/>
                <a:gd name="connsiteX221" fmla="*/ 1255929 w 4885943"/>
                <a:gd name="connsiteY221" fmla="*/ 525201 h 1130045"/>
                <a:gd name="connsiteX222" fmla="*/ 1337749 w 4885943"/>
                <a:gd name="connsiteY222" fmla="*/ 527487 h 1130045"/>
                <a:gd name="connsiteX223" fmla="*/ 1501483 w 4885943"/>
                <a:gd name="connsiteY223" fmla="*/ 537012 h 1130045"/>
                <a:gd name="connsiteX224" fmla="*/ 1828763 w 4885943"/>
                <a:gd name="connsiteY224" fmla="*/ 556062 h 1130045"/>
                <a:gd name="connsiteX225" fmla="*/ 1990116 w 4885943"/>
                <a:gd name="connsiteY225" fmla="*/ 556062 h 1130045"/>
                <a:gd name="connsiteX226" fmla="*/ 2153470 w 4885943"/>
                <a:gd name="connsiteY226" fmla="*/ 513485 h 1130045"/>
                <a:gd name="connsiteX227" fmla="*/ 2198333 w 4885943"/>
                <a:gd name="connsiteY227" fmla="*/ 481957 h 1130045"/>
                <a:gd name="connsiteX228" fmla="*/ 2229193 w 4885943"/>
                <a:gd name="connsiteY228" fmla="*/ 450429 h 1130045"/>
                <a:gd name="connsiteX229" fmla="*/ 2250910 w 4885943"/>
                <a:gd name="connsiteY229" fmla="*/ 421854 h 1130045"/>
                <a:gd name="connsiteX230" fmla="*/ 2289773 w 4885943"/>
                <a:gd name="connsiteY230" fmla="*/ 234688 h 1130045"/>
                <a:gd name="connsiteX231" fmla="*/ 2293583 w 4885943"/>
                <a:gd name="connsiteY231" fmla="*/ 1230 h 113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4885943" h="1130045">
                  <a:moveTo>
                    <a:pt x="2292916" y="-294"/>
                  </a:moveTo>
                  <a:lnTo>
                    <a:pt x="2474843" y="-294"/>
                  </a:lnTo>
                  <a:lnTo>
                    <a:pt x="2477510" y="60190"/>
                  </a:lnTo>
                  <a:cubicBezTo>
                    <a:pt x="2482177" y="130484"/>
                    <a:pt x="2484559" y="200684"/>
                    <a:pt x="2487035" y="273264"/>
                  </a:cubicBezTo>
                  <a:cubicBezTo>
                    <a:pt x="2489417" y="308412"/>
                    <a:pt x="2491131" y="344130"/>
                    <a:pt x="2491988" y="379849"/>
                  </a:cubicBezTo>
                  <a:lnTo>
                    <a:pt x="2573332" y="411186"/>
                  </a:lnTo>
                  <a:lnTo>
                    <a:pt x="2643055" y="448048"/>
                  </a:lnTo>
                  <a:cubicBezTo>
                    <a:pt x="2651056" y="457573"/>
                    <a:pt x="2674392" y="484053"/>
                    <a:pt x="2698776" y="509580"/>
                  </a:cubicBezTo>
                  <a:cubicBezTo>
                    <a:pt x="2735257" y="547680"/>
                    <a:pt x="2776881" y="547680"/>
                    <a:pt x="2830126" y="549584"/>
                  </a:cubicBezTo>
                  <a:cubicBezTo>
                    <a:pt x="2883371" y="551490"/>
                    <a:pt x="2936710" y="554252"/>
                    <a:pt x="2989955" y="554252"/>
                  </a:cubicBezTo>
                  <a:cubicBezTo>
                    <a:pt x="3098350" y="554252"/>
                    <a:pt x="3204935" y="549584"/>
                    <a:pt x="3313329" y="549584"/>
                  </a:cubicBezTo>
                  <a:cubicBezTo>
                    <a:pt x="3367526" y="549584"/>
                    <a:pt x="3421247" y="550156"/>
                    <a:pt x="3475254" y="551966"/>
                  </a:cubicBezTo>
                  <a:lnTo>
                    <a:pt x="3568885" y="557395"/>
                  </a:lnTo>
                  <a:lnTo>
                    <a:pt x="3568885" y="557395"/>
                  </a:lnTo>
                  <a:lnTo>
                    <a:pt x="3636417" y="561300"/>
                  </a:lnTo>
                  <a:cubicBezTo>
                    <a:pt x="3744802" y="570968"/>
                    <a:pt x="3852273" y="588999"/>
                    <a:pt x="3957886" y="615212"/>
                  </a:cubicBezTo>
                  <a:cubicBezTo>
                    <a:pt x="4065671" y="640472"/>
                    <a:pt x="4170389" y="677362"/>
                    <a:pt x="4270211" y="725226"/>
                  </a:cubicBezTo>
                  <a:cubicBezTo>
                    <a:pt x="4321646" y="751038"/>
                    <a:pt x="4371271" y="776756"/>
                    <a:pt x="4420896" y="804855"/>
                  </a:cubicBezTo>
                  <a:cubicBezTo>
                    <a:pt x="4470522" y="830667"/>
                    <a:pt x="4520051" y="858766"/>
                    <a:pt x="4569677" y="879816"/>
                  </a:cubicBezTo>
                  <a:cubicBezTo>
                    <a:pt x="4619121" y="903124"/>
                    <a:pt x="4671775" y="918926"/>
                    <a:pt x="4725887" y="926680"/>
                  </a:cubicBezTo>
                  <a:cubicBezTo>
                    <a:pt x="4778846" y="934871"/>
                    <a:pt x="4832757" y="934871"/>
                    <a:pt x="4885716" y="926680"/>
                  </a:cubicBezTo>
                  <a:lnTo>
                    <a:pt x="4885716" y="936205"/>
                  </a:lnTo>
                  <a:cubicBezTo>
                    <a:pt x="4832290" y="945986"/>
                    <a:pt x="4777693" y="947596"/>
                    <a:pt x="4723791" y="940967"/>
                  </a:cubicBezTo>
                  <a:cubicBezTo>
                    <a:pt x="4669546" y="934785"/>
                    <a:pt x="4616521" y="920603"/>
                    <a:pt x="4566438" y="898866"/>
                  </a:cubicBezTo>
                  <a:cubicBezTo>
                    <a:pt x="4515003" y="877816"/>
                    <a:pt x="4463473" y="852003"/>
                    <a:pt x="4414038" y="826286"/>
                  </a:cubicBezTo>
                  <a:cubicBezTo>
                    <a:pt x="4389178" y="813427"/>
                    <a:pt x="4364413" y="800473"/>
                    <a:pt x="4339362" y="788186"/>
                  </a:cubicBezTo>
                  <a:lnTo>
                    <a:pt x="4318122" y="778661"/>
                  </a:lnTo>
                  <a:lnTo>
                    <a:pt x="4385463" y="844669"/>
                  </a:lnTo>
                  <a:cubicBezTo>
                    <a:pt x="4423287" y="891265"/>
                    <a:pt x="4449414" y="946225"/>
                    <a:pt x="4461663" y="1004975"/>
                  </a:cubicBezTo>
                  <a:lnTo>
                    <a:pt x="4452138" y="1007356"/>
                  </a:lnTo>
                  <a:cubicBezTo>
                    <a:pt x="4429973" y="901076"/>
                    <a:pt x="4362612" y="809722"/>
                    <a:pt x="4267639" y="757134"/>
                  </a:cubicBezTo>
                  <a:lnTo>
                    <a:pt x="4229539" y="740942"/>
                  </a:lnTo>
                  <a:lnTo>
                    <a:pt x="4110000" y="695508"/>
                  </a:lnTo>
                  <a:cubicBezTo>
                    <a:pt x="4058375" y="678868"/>
                    <a:pt x="4005959" y="664713"/>
                    <a:pt x="3952742" y="653026"/>
                  </a:cubicBezTo>
                  <a:lnTo>
                    <a:pt x="3861588" y="637405"/>
                  </a:lnTo>
                  <a:lnTo>
                    <a:pt x="3876542" y="643311"/>
                  </a:lnTo>
                  <a:lnTo>
                    <a:pt x="3896259" y="651216"/>
                  </a:lnTo>
                  <a:cubicBezTo>
                    <a:pt x="3910261" y="658170"/>
                    <a:pt x="3924834" y="667599"/>
                    <a:pt x="3938360" y="674553"/>
                  </a:cubicBezTo>
                  <a:cubicBezTo>
                    <a:pt x="3996957" y="704099"/>
                    <a:pt x="4049364" y="744580"/>
                    <a:pt x="4092760" y="793806"/>
                  </a:cubicBezTo>
                  <a:lnTo>
                    <a:pt x="4109143" y="810189"/>
                  </a:lnTo>
                  <a:cubicBezTo>
                    <a:pt x="4114010" y="817027"/>
                    <a:pt x="4119487" y="823409"/>
                    <a:pt x="4125526" y="829239"/>
                  </a:cubicBezTo>
                  <a:cubicBezTo>
                    <a:pt x="4135051" y="843240"/>
                    <a:pt x="4144576" y="854956"/>
                    <a:pt x="4154101" y="868958"/>
                  </a:cubicBezTo>
                  <a:cubicBezTo>
                    <a:pt x="4173151" y="894675"/>
                    <a:pt x="4189153" y="922679"/>
                    <a:pt x="4205536" y="950778"/>
                  </a:cubicBezTo>
                  <a:lnTo>
                    <a:pt x="4198582" y="955445"/>
                  </a:lnTo>
                  <a:cubicBezTo>
                    <a:pt x="4179532" y="929727"/>
                    <a:pt x="4161149" y="901724"/>
                    <a:pt x="4142385" y="876006"/>
                  </a:cubicBezTo>
                  <a:cubicBezTo>
                    <a:pt x="4132974" y="863719"/>
                    <a:pt x="4122821" y="852022"/>
                    <a:pt x="4112000" y="840955"/>
                  </a:cubicBezTo>
                  <a:cubicBezTo>
                    <a:pt x="4107333" y="833906"/>
                    <a:pt x="4102475" y="829239"/>
                    <a:pt x="4097904" y="821905"/>
                  </a:cubicBezTo>
                  <a:lnTo>
                    <a:pt x="4081520" y="805521"/>
                  </a:lnTo>
                  <a:cubicBezTo>
                    <a:pt x="4035724" y="762183"/>
                    <a:pt x="3983680" y="725959"/>
                    <a:pt x="3927120" y="698080"/>
                  </a:cubicBezTo>
                  <a:cubicBezTo>
                    <a:pt x="3913118" y="693412"/>
                    <a:pt x="3899021" y="686364"/>
                    <a:pt x="3882638" y="679030"/>
                  </a:cubicBezTo>
                  <a:lnTo>
                    <a:pt x="3840538" y="662742"/>
                  </a:lnTo>
                  <a:cubicBezTo>
                    <a:pt x="3810153" y="653217"/>
                    <a:pt x="3779768" y="643692"/>
                    <a:pt x="3749288" y="637024"/>
                  </a:cubicBezTo>
                  <a:cubicBezTo>
                    <a:pt x="3718808" y="630357"/>
                    <a:pt x="3687852" y="622356"/>
                    <a:pt x="3656610" y="616831"/>
                  </a:cubicBezTo>
                  <a:lnTo>
                    <a:pt x="3613652" y="610068"/>
                  </a:lnTo>
                  <a:lnTo>
                    <a:pt x="3474968" y="605782"/>
                  </a:lnTo>
                  <a:cubicBezTo>
                    <a:pt x="3421438" y="605782"/>
                    <a:pt x="3367717" y="607020"/>
                    <a:pt x="3313043" y="608163"/>
                  </a:cubicBezTo>
                  <a:lnTo>
                    <a:pt x="2991955" y="622641"/>
                  </a:lnTo>
                  <a:lnTo>
                    <a:pt x="2893086" y="622641"/>
                  </a:lnTo>
                  <a:lnTo>
                    <a:pt x="2909945" y="626070"/>
                  </a:lnTo>
                  <a:cubicBezTo>
                    <a:pt x="2942997" y="633024"/>
                    <a:pt x="2976620" y="640644"/>
                    <a:pt x="3009101" y="648835"/>
                  </a:cubicBezTo>
                  <a:cubicBezTo>
                    <a:pt x="3074632" y="665342"/>
                    <a:pt x="3140136" y="684106"/>
                    <a:pt x="3205601" y="705128"/>
                  </a:cubicBezTo>
                  <a:cubicBezTo>
                    <a:pt x="3237224" y="715605"/>
                    <a:pt x="3268752" y="726750"/>
                    <a:pt x="3300375" y="739037"/>
                  </a:cubicBezTo>
                  <a:lnTo>
                    <a:pt x="3325616" y="749991"/>
                  </a:lnTo>
                  <a:lnTo>
                    <a:pt x="3366193" y="761801"/>
                  </a:lnTo>
                  <a:cubicBezTo>
                    <a:pt x="3391911" y="768279"/>
                    <a:pt x="3418199" y="774089"/>
                    <a:pt x="3443917" y="779899"/>
                  </a:cubicBezTo>
                  <a:cubicBezTo>
                    <a:pt x="3495352" y="793901"/>
                    <a:pt x="3546787" y="805617"/>
                    <a:pt x="3598222" y="819618"/>
                  </a:cubicBezTo>
                  <a:cubicBezTo>
                    <a:pt x="3649657" y="833620"/>
                    <a:pt x="3700996" y="847622"/>
                    <a:pt x="3752432" y="864005"/>
                  </a:cubicBezTo>
                  <a:cubicBezTo>
                    <a:pt x="3802924" y="881569"/>
                    <a:pt x="3852130" y="902638"/>
                    <a:pt x="3899688" y="927060"/>
                  </a:cubicBezTo>
                  <a:lnTo>
                    <a:pt x="3895021" y="936585"/>
                  </a:lnTo>
                  <a:cubicBezTo>
                    <a:pt x="3847139" y="912840"/>
                    <a:pt x="3797056" y="893828"/>
                    <a:pt x="3745479" y="879816"/>
                  </a:cubicBezTo>
                  <a:cubicBezTo>
                    <a:pt x="3696329" y="865815"/>
                    <a:pt x="3644989" y="854099"/>
                    <a:pt x="3591173" y="842383"/>
                  </a:cubicBezTo>
                  <a:lnTo>
                    <a:pt x="3467348" y="817999"/>
                  </a:lnTo>
                  <a:lnTo>
                    <a:pt x="3484684" y="827524"/>
                  </a:lnTo>
                  <a:cubicBezTo>
                    <a:pt x="3514021" y="845545"/>
                    <a:pt x="3542062" y="865595"/>
                    <a:pt x="3568599" y="887532"/>
                  </a:cubicBezTo>
                  <a:cubicBezTo>
                    <a:pt x="3582134" y="897190"/>
                    <a:pt x="3594669" y="908163"/>
                    <a:pt x="3606032" y="920298"/>
                  </a:cubicBezTo>
                  <a:cubicBezTo>
                    <a:pt x="3612985" y="927346"/>
                    <a:pt x="3617748" y="934395"/>
                    <a:pt x="3625082" y="941443"/>
                  </a:cubicBezTo>
                  <a:cubicBezTo>
                    <a:pt x="3631140" y="947253"/>
                    <a:pt x="3636626" y="953635"/>
                    <a:pt x="3641465" y="960493"/>
                  </a:cubicBezTo>
                  <a:cubicBezTo>
                    <a:pt x="3662801" y="987163"/>
                    <a:pt x="3679423" y="1017281"/>
                    <a:pt x="3690614" y="1049552"/>
                  </a:cubicBezTo>
                  <a:lnTo>
                    <a:pt x="3683566" y="1051838"/>
                  </a:lnTo>
                  <a:cubicBezTo>
                    <a:pt x="3669202" y="1022491"/>
                    <a:pt x="3650266" y="995612"/>
                    <a:pt x="3627464" y="972209"/>
                  </a:cubicBezTo>
                  <a:cubicBezTo>
                    <a:pt x="3622796" y="965160"/>
                    <a:pt x="3615748" y="960493"/>
                    <a:pt x="3611080" y="953159"/>
                  </a:cubicBezTo>
                  <a:cubicBezTo>
                    <a:pt x="3604032" y="948492"/>
                    <a:pt x="3599365" y="941538"/>
                    <a:pt x="3592030" y="936776"/>
                  </a:cubicBezTo>
                  <a:cubicBezTo>
                    <a:pt x="3580410" y="927251"/>
                    <a:pt x="3568695" y="915726"/>
                    <a:pt x="3554597" y="906391"/>
                  </a:cubicBezTo>
                  <a:cubicBezTo>
                    <a:pt x="3499905" y="869768"/>
                    <a:pt x="3440992" y="839859"/>
                    <a:pt x="3379147" y="817332"/>
                  </a:cubicBezTo>
                  <a:cubicBezTo>
                    <a:pt x="3317530" y="791967"/>
                    <a:pt x="3254027" y="771460"/>
                    <a:pt x="3189218" y="755991"/>
                  </a:cubicBezTo>
                  <a:cubicBezTo>
                    <a:pt x="3126067" y="741894"/>
                    <a:pt x="3060535" y="727893"/>
                    <a:pt x="2995099" y="716177"/>
                  </a:cubicBezTo>
                  <a:lnTo>
                    <a:pt x="2949379" y="710176"/>
                  </a:lnTo>
                  <a:lnTo>
                    <a:pt x="2982145" y="738751"/>
                  </a:lnTo>
                  <a:cubicBezTo>
                    <a:pt x="2998337" y="754239"/>
                    <a:pt x="3013482" y="770793"/>
                    <a:pt x="3027484" y="788281"/>
                  </a:cubicBezTo>
                  <a:cubicBezTo>
                    <a:pt x="3057030" y="821609"/>
                    <a:pt x="3080767" y="859671"/>
                    <a:pt x="3097683" y="900867"/>
                  </a:cubicBezTo>
                  <a:lnTo>
                    <a:pt x="3098350" y="902772"/>
                  </a:lnTo>
                  <a:lnTo>
                    <a:pt x="3159500" y="940205"/>
                  </a:lnTo>
                  <a:cubicBezTo>
                    <a:pt x="3180836" y="953730"/>
                    <a:pt x="3201887" y="967732"/>
                    <a:pt x="3221698" y="982972"/>
                  </a:cubicBezTo>
                  <a:cubicBezTo>
                    <a:pt x="3260923" y="1014433"/>
                    <a:pt x="3296937" y="1049685"/>
                    <a:pt x="3329236" y="1088223"/>
                  </a:cubicBezTo>
                  <a:lnTo>
                    <a:pt x="3322187" y="1095272"/>
                  </a:lnTo>
                  <a:cubicBezTo>
                    <a:pt x="3288469" y="1058724"/>
                    <a:pt x="3251731" y="1025082"/>
                    <a:pt x="3212364" y="994688"/>
                  </a:cubicBezTo>
                  <a:cubicBezTo>
                    <a:pt x="3192209" y="980562"/>
                    <a:pt x="3171359" y="967465"/>
                    <a:pt x="3149880" y="955445"/>
                  </a:cubicBezTo>
                  <a:lnTo>
                    <a:pt x="3109875" y="933823"/>
                  </a:lnTo>
                  <a:lnTo>
                    <a:pt x="3116352" y="966494"/>
                  </a:lnTo>
                  <a:lnTo>
                    <a:pt x="3116352" y="999355"/>
                  </a:lnTo>
                  <a:cubicBezTo>
                    <a:pt x="3114600" y="1010671"/>
                    <a:pt x="3111399" y="1021720"/>
                    <a:pt x="3106827" y="1032216"/>
                  </a:cubicBezTo>
                  <a:lnTo>
                    <a:pt x="3097302" y="1029835"/>
                  </a:lnTo>
                  <a:cubicBezTo>
                    <a:pt x="3099969" y="1019872"/>
                    <a:pt x="3101531" y="1009652"/>
                    <a:pt x="3101970" y="999355"/>
                  </a:cubicBezTo>
                  <a:cubicBezTo>
                    <a:pt x="3102455" y="989135"/>
                    <a:pt x="3101655" y="978895"/>
                    <a:pt x="3099588" y="968875"/>
                  </a:cubicBezTo>
                  <a:cubicBezTo>
                    <a:pt x="3094264" y="948425"/>
                    <a:pt x="3086425" y="928718"/>
                    <a:pt x="3076252" y="910201"/>
                  </a:cubicBezTo>
                  <a:cubicBezTo>
                    <a:pt x="3053849" y="875616"/>
                    <a:pt x="3027969" y="843412"/>
                    <a:pt x="2999004" y="814094"/>
                  </a:cubicBezTo>
                  <a:cubicBezTo>
                    <a:pt x="2967524" y="786443"/>
                    <a:pt x="2933891" y="761345"/>
                    <a:pt x="2898420" y="739037"/>
                  </a:cubicBezTo>
                  <a:cubicBezTo>
                    <a:pt x="2880894" y="727321"/>
                    <a:pt x="2863368" y="716748"/>
                    <a:pt x="2845556" y="706842"/>
                  </a:cubicBezTo>
                  <a:lnTo>
                    <a:pt x="2819839" y="693317"/>
                  </a:lnTo>
                  <a:lnTo>
                    <a:pt x="2795836" y="690174"/>
                  </a:lnTo>
                  <a:cubicBezTo>
                    <a:pt x="2730304" y="680649"/>
                    <a:pt x="2660105" y="671124"/>
                    <a:pt x="2590000" y="647978"/>
                  </a:cubicBezTo>
                  <a:cubicBezTo>
                    <a:pt x="2553720" y="635748"/>
                    <a:pt x="2519725" y="617555"/>
                    <a:pt x="2489417" y="594162"/>
                  </a:cubicBezTo>
                  <a:cubicBezTo>
                    <a:pt x="2472910" y="583322"/>
                    <a:pt x="2457613" y="570740"/>
                    <a:pt x="2443792" y="556633"/>
                  </a:cubicBezTo>
                  <a:lnTo>
                    <a:pt x="2421980" y="531582"/>
                  </a:lnTo>
                  <a:cubicBezTo>
                    <a:pt x="2421980" y="531582"/>
                    <a:pt x="2399977" y="546060"/>
                    <a:pt x="2393405" y="551585"/>
                  </a:cubicBezTo>
                  <a:cubicBezTo>
                    <a:pt x="2359496" y="578731"/>
                    <a:pt x="2339684" y="608068"/>
                    <a:pt x="2311585" y="636167"/>
                  </a:cubicBezTo>
                  <a:lnTo>
                    <a:pt x="2269580" y="675886"/>
                  </a:lnTo>
                  <a:lnTo>
                    <a:pt x="2250530" y="696936"/>
                  </a:lnTo>
                  <a:lnTo>
                    <a:pt x="2229479" y="717987"/>
                  </a:lnTo>
                  <a:lnTo>
                    <a:pt x="2213192" y="737703"/>
                  </a:lnTo>
                  <a:lnTo>
                    <a:pt x="2206334" y="757706"/>
                  </a:lnTo>
                  <a:cubicBezTo>
                    <a:pt x="2203076" y="769241"/>
                    <a:pt x="2200809" y="781033"/>
                    <a:pt x="2199571" y="792948"/>
                  </a:cubicBezTo>
                  <a:cubicBezTo>
                    <a:pt x="2197609" y="817304"/>
                    <a:pt x="2199180" y="841812"/>
                    <a:pt x="2204238" y="865719"/>
                  </a:cubicBezTo>
                  <a:cubicBezTo>
                    <a:pt x="2211315" y="889341"/>
                    <a:pt x="2220897" y="912135"/>
                    <a:pt x="2232813" y="933728"/>
                  </a:cubicBezTo>
                  <a:cubicBezTo>
                    <a:pt x="2244529" y="957255"/>
                    <a:pt x="2256244" y="978400"/>
                    <a:pt x="2267960" y="1004213"/>
                  </a:cubicBezTo>
                  <a:lnTo>
                    <a:pt x="2258435" y="1006594"/>
                  </a:lnTo>
                  <a:cubicBezTo>
                    <a:pt x="2246719" y="985449"/>
                    <a:pt x="2232623" y="964303"/>
                    <a:pt x="2218525" y="943158"/>
                  </a:cubicBezTo>
                  <a:cubicBezTo>
                    <a:pt x="2203543" y="920621"/>
                    <a:pt x="2191713" y="896133"/>
                    <a:pt x="2183378" y="870387"/>
                  </a:cubicBezTo>
                  <a:cubicBezTo>
                    <a:pt x="2178492" y="858099"/>
                    <a:pt x="2174949" y="845326"/>
                    <a:pt x="2172806" y="832287"/>
                  </a:cubicBezTo>
                  <a:lnTo>
                    <a:pt x="2169662" y="795806"/>
                  </a:lnTo>
                  <a:lnTo>
                    <a:pt x="2161852" y="806950"/>
                  </a:lnTo>
                  <a:cubicBezTo>
                    <a:pt x="2141973" y="839011"/>
                    <a:pt x="2124771" y="872653"/>
                    <a:pt x="2110417" y="907534"/>
                  </a:cubicBezTo>
                  <a:cubicBezTo>
                    <a:pt x="2082042" y="978086"/>
                    <a:pt x="2068516" y="1053733"/>
                    <a:pt x="2070698" y="1129752"/>
                  </a:cubicBezTo>
                  <a:lnTo>
                    <a:pt x="2061173" y="1129752"/>
                  </a:lnTo>
                  <a:cubicBezTo>
                    <a:pt x="2052800" y="1051981"/>
                    <a:pt x="2060877" y="973314"/>
                    <a:pt x="2084890" y="898866"/>
                  </a:cubicBezTo>
                  <a:cubicBezTo>
                    <a:pt x="2097301" y="861262"/>
                    <a:pt x="2112160" y="824514"/>
                    <a:pt x="2129372" y="788853"/>
                  </a:cubicBezTo>
                  <a:cubicBezTo>
                    <a:pt x="2148441" y="753620"/>
                    <a:pt x="2170329" y="719977"/>
                    <a:pt x="2194808" y="688269"/>
                  </a:cubicBezTo>
                  <a:lnTo>
                    <a:pt x="2213858" y="664932"/>
                  </a:lnTo>
                  <a:lnTo>
                    <a:pt x="2232908" y="641501"/>
                  </a:lnTo>
                  <a:lnTo>
                    <a:pt x="2270342" y="597019"/>
                  </a:lnTo>
                  <a:lnTo>
                    <a:pt x="2279200" y="587494"/>
                  </a:lnTo>
                  <a:lnTo>
                    <a:pt x="2246243" y="599210"/>
                  </a:lnTo>
                  <a:cubicBezTo>
                    <a:pt x="2217992" y="608440"/>
                    <a:pt x="2189084" y="615507"/>
                    <a:pt x="2159756" y="620355"/>
                  </a:cubicBezTo>
                  <a:cubicBezTo>
                    <a:pt x="2104235" y="630690"/>
                    <a:pt x="2047818" y="635376"/>
                    <a:pt x="1991354" y="634357"/>
                  </a:cubicBezTo>
                  <a:cubicBezTo>
                    <a:pt x="1963351" y="635500"/>
                    <a:pt x="1935252" y="635500"/>
                    <a:pt x="1907249" y="634357"/>
                  </a:cubicBezTo>
                  <a:lnTo>
                    <a:pt x="1881245" y="632833"/>
                  </a:lnTo>
                  <a:lnTo>
                    <a:pt x="1838002" y="637119"/>
                  </a:lnTo>
                  <a:cubicBezTo>
                    <a:pt x="1796054" y="643139"/>
                    <a:pt x="1754458" y="651436"/>
                    <a:pt x="1713415" y="661980"/>
                  </a:cubicBezTo>
                  <a:lnTo>
                    <a:pt x="1643215" y="684078"/>
                  </a:lnTo>
                  <a:lnTo>
                    <a:pt x="1621975" y="704747"/>
                  </a:lnTo>
                  <a:cubicBezTo>
                    <a:pt x="1611707" y="716587"/>
                    <a:pt x="1602972" y="729674"/>
                    <a:pt x="1595972" y="743704"/>
                  </a:cubicBezTo>
                  <a:cubicBezTo>
                    <a:pt x="1580093" y="772717"/>
                    <a:pt x="1567539" y="803416"/>
                    <a:pt x="1558538" y="835239"/>
                  </a:cubicBezTo>
                  <a:cubicBezTo>
                    <a:pt x="1546918" y="868005"/>
                    <a:pt x="1537488" y="900867"/>
                    <a:pt x="1528153" y="933728"/>
                  </a:cubicBezTo>
                  <a:lnTo>
                    <a:pt x="1503293" y="1032216"/>
                  </a:lnTo>
                  <a:lnTo>
                    <a:pt x="1493768" y="1029835"/>
                  </a:lnTo>
                  <a:lnTo>
                    <a:pt x="1514818" y="928965"/>
                  </a:lnTo>
                  <a:cubicBezTo>
                    <a:pt x="1521867" y="896076"/>
                    <a:pt x="1528887" y="863214"/>
                    <a:pt x="1535869" y="830382"/>
                  </a:cubicBezTo>
                  <a:cubicBezTo>
                    <a:pt x="1544298" y="796006"/>
                    <a:pt x="1555214" y="762297"/>
                    <a:pt x="1568540" y="729512"/>
                  </a:cubicBezTo>
                  <a:lnTo>
                    <a:pt x="1584923" y="703413"/>
                  </a:lnTo>
                  <a:lnTo>
                    <a:pt x="1475480" y="753229"/>
                  </a:lnTo>
                  <a:cubicBezTo>
                    <a:pt x="1400128" y="794596"/>
                    <a:pt x="1329538" y="844107"/>
                    <a:pt x="1264978" y="900867"/>
                  </a:cubicBezTo>
                  <a:cubicBezTo>
                    <a:pt x="1197160" y="957064"/>
                    <a:pt x="1134009" y="1015643"/>
                    <a:pt x="1073144" y="1076508"/>
                  </a:cubicBezTo>
                  <a:lnTo>
                    <a:pt x="1066191" y="1069555"/>
                  </a:lnTo>
                  <a:cubicBezTo>
                    <a:pt x="1124674" y="1006308"/>
                    <a:pt x="1185444" y="942967"/>
                    <a:pt x="1250976" y="884484"/>
                  </a:cubicBezTo>
                  <a:lnTo>
                    <a:pt x="1327176" y="819809"/>
                  </a:lnTo>
                  <a:lnTo>
                    <a:pt x="1286409" y="830286"/>
                  </a:lnTo>
                  <a:cubicBezTo>
                    <a:pt x="1253738" y="834954"/>
                    <a:pt x="1218591" y="839811"/>
                    <a:pt x="1185825" y="841907"/>
                  </a:cubicBezTo>
                  <a:cubicBezTo>
                    <a:pt x="1151411" y="841993"/>
                    <a:pt x="1117045" y="839669"/>
                    <a:pt x="1082955" y="834954"/>
                  </a:cubicBezTo>
                  <a:cubicBezTo>
                    <a:pt x="1049322" y="830296"/>
                    <a:pt x="1016328" y="821761"/>
                    <a:pt x="984657" y="809522"/>
                  </a:cubicBezTo>
                  <a:lnTo>
                    <a:pt x="987038" y="799997"/>
                  </a:lnTo>
                  <a:cubicBezTo>
                    <a:pt x="1018985" y="810236"/>
                    <a:pt x="1051884" y="817199"/>
                    <a:pt x="1085241" y="820761"/>
                  </a:cubicBezTo>
                  <a:cubicBezTo>
                    <a:pt x="1117826" y="825028"/>
                    <a:pt x="1150782" y="825829"/>
                    <a:pt x="1183539" y="823143"/>
                  </a:cubicBezTo>
                  <a:cubicBezTo>
                    <a:pt x="1216553" y="820752"/>
                    <a:pt x="1249366" y="816104"/>
                    <a:pt x="1281742" y="809236"/>
                  </a:cubicBezTo>
                  <a:lnTo>
                    <a:pt x="1376230" y="781899"/>
                  </a:lnTo>
                  <a:lnTo>
                    <a:pt x="1459478" y="724749"/>
                  </a:lnTo>
                  <a:cubicBezTo>
                    <a:pt x="1497007" y="701318"/>
                    <a:pt x="1536193" y="680658"/>
                    <a:pt x="1576731" y="662932"/>
                  </a:cubicBezTo>
                  <a:lnTo>
                    <a:pt x="1691983" y="620927"/>
                  </a:lnTo>
                  <a:lnTo>
                    <a:pt x="1660360" y="618926"/>
                  </a:lnTo>
                  <a:cubicBezTo>
                    <a:pt x="1605973" y="614831"/>
                    <a:pt x="1551585" y="610164"/>
                    <a:pt x="1496626" y="605496"/>
                  </a:cubicBezTo>
                  <a:lnTo>
                    <a:pt x="1332986" y="591495"/>
                  </a:lnTo>
                  <a:lnTo>
                    <a:pt x="1251166" y="586732"/>
                  </a:lnTo>
                  <a:cubicBezTo>
                    <a:pt x="1225449" y="584446"/>
                    <a:pt x="1199732" y="582065"/>
                    <a:pt x="1171633" y="582065"/>
                  </a:cubicBezTo>
                  <a:cubicBezTo>
                    <a:pt x="1064600" y="582989"/>
                    <a:pt x="957987" y="595571"/>
                    <a:pt x="853688" y="619593"/>
                  </a:cubicBezTo>
                  <a:cubicBezTo>
                    <a:pt x="801110" y="632290"/>
                    <a:pt x="749104" y="646902"/>
                    <a:pt x="697669" y="663408"/>
                  </a:cubicBezTo>
                  <a:lnTo>
                    <a:pt x="574796" y="708366"/>
                  </a:lnTo>
                  <a:lnTo>
                    <a:pt x="537173" y="742656"/>
                  </a:lnTo>
                  <a:cubicBezTo>
                    <a:pt x="521085" y="761163"/>
                    <a:pt x="506226" y="780699"/>
                    <a:pt x="492691" y="801140"/>
                  </a:cubicBezTo>
                  <a:cubicBezTo>
                    <a:pt x="467306" y="844126"/>
                    <a:pt x="444656" y="888665"/>
                    <a:pt x="424873" y="934490"/>
                  </a:cubicBezTo>
                  <a:lnTo>
                    <a:pt x="415348" y="929727"/>
                  </a:lnTo>
                  <a:cubicBezTo>
                    <a:pt x="433197" y="882731"/>
                    <a:pt x="453476" y="836697"/>
                    <a:pt x="476117" y="791805"/>
                  </a:cubicBezTo>
                  <a:lnTo>
                    <a:pt x="514217" y="732846"/>
                  </a:lnTo>
                  <a:lnTo>
                    <a:pt x="509455" y="734655"/>
                  </a:lnTo>
                  <a:lnTo>
                    <a:pt x="507073" y="735513"/>
                  </a:lnTo>
                  <a:lnTo>
                    <a:pt x="469640" y="751896"/>
                  </a:lnTo>
                  <a:cubicBezTo>
                    <a:pt x="446304" y="763611"/>
                    <a:pt x="422872" y="777708"/>
                    <a:pt x="397155" y="789424"/>
                  </a:cubicBezTo>
                  <a:lnTo>
                    <a:pt x="362103" y="808474"/>
                  </a:lnTo>
                  <a:lnTo>
                    <a:pt x="327051" y="829620"/>
                  </a:lnTo>
                  <a:lnTo>
                    <a:pt x="291999" y="848670"/>
                  </a:lnTo>
                  <a:cubicBezTo>
                    <a:pt x="280283" y="855718"/>
                    <a:pt x="268567" y="865053"/>
                    <a:pt x="256947" y="872101"/>
                  </a:cubicBezTo>
                  <a:cubicBezTo>
                    <a:pt x="165850" y="930861"/>
                    <a:pt x="81877" y="1000003"/>
                    <a:pt x="6725" y="1078127"/>
                  </a:cubicBezTo>
                  <a:lnTo>
                    <a:pt x="-228" y="1071174"/>
                  </a:lnTo>
                  <a:cubicBezTo>
                    <a:pt x="70390" y="986373"/>
                    <a:pt x="152153" y="911525"/>
                    <a:pt x="242850" y="848670"/>
                  </a:cubicBezTo>
                  <a:cubicBezTo>
                    <a:pt x="252804" y="839592"/>
                    <a:pt x="263805" y="831725"/>
                    <a:pt x="275616" y="825238"/>
                  </a:cubicBezTo>
                  <a:lnTo>
                    <a:pt x="310668" y="801902"/>
                  </a:lnTo>
                  <a:lnTo>
                    <a:pt x="345720" y="778470"/>
                  </a:lnTo>
                  <a:lnTo>
                    <a:pt x="380867" y="757325"/>
                  </a:lnTo>
                  <a:cubicBezTo>
                    <a:pt x="404203" y="745609"/>
                    <a:pt x="427635" y="731607"/>
                    <a:pt x="453352" y="719892"/>
                  </a:cubicBezTo>
                  <a:lnTo>
                    <a:pt x="490690" y="700842"/>
                  </a:lnTo>
                  <a:lnTo>
                    <a:pt x="509740" y="691317"/>
                  </a:lnTo>
                  <a:lnTo>
                    <a:pt x="528790" y="681792"/>
                  </a:lnTo>
                  <a:cubicBezTo>
                    <a:pt x="579082" y="658360"/>
                    <a:pt x="630422" y="637377"/>
                    <a:pt x="682810" y="618831"/>
                  </a:cubicBezTo>
                  <a:lnTo>
                    <a:pt x="754723" y="597591"/>
                  </a:lnTo>
                  <a:lnTo>
                    <a:pt x="663379" y="588923"/>
                  </a:lnTo>
                  <a:cubicBezTo>
                    <a:pt x="598894" y="585865"/>
                    <a:pt x="534277" y="587904"/>
                    <a:pt x="470116" y="595019"/>
                  </a:cubicBezTo>
                  <a:cubicBezTo>
                    <a:pt x="341415" y="609201"/>
                    <a:pt x="215485" y="642196"/>
                    <a:pt x="96355" y="692936"/>
                  </a:cubicBezTo>
                  <a:lnTo>
                    <a:pt x="93974" y="685983"/>
                  </a:lnTo>
                  <a:cubicBezTo>
                    <a:pt x="211817" y="627642"/>
                    <a:pt x="337843" y="587523"/>
                    <a:pt x="467735" y="567015"/>
                  </a:cubicBezTo>
                  <a:cubicBezTo>
                    <a:pt x="565586" y="551052"/>
                    <a:pt x="665093" y="547851"/>
                    <a:pt x="763772" y="557490"/>
                  </a:cubicBezTo>
                  <a:lnTo>
                    <a:pt x="850640" y="570254"/>
                  </a:lnTo>
                  <a:lnTo>
                    <a:pt x="1005231" y="538631"/>
                  </a:lnTo>
                  <a:cubicBezTo>
                    <a:pt x="1060409" y="530430"/>
                    <a:pt x="1115988" y="525153"/>
                    <a:pt x="1171728" y="522819"/>
                  </a:cubicBezTo>
                  <a:cubicBezTo>
                    <a:pt x="1199827" y="522819"/>
                    <a:pt x="1227925" y="522819"/>
                    <a:pt x="1255929" y="525201"/>
                  </a:cubicBezTo>
                  <a:lnTo>
                    <a:pt x="1337749" y="527487"/>
                  </a:lnTo>
                  <a:lnTo>
                    <a:pt x="1501483" y="537012"/>
                  </a:lnTo>
                  <a:cubicBezTo>
                    <a:pt x="1611307" y="544060"/>
                    <a:pt x="1718844" y="551109"/>
                    <a:pt x="1828763" y="556062"/>
                  </a:cubicBezTo>
                  <a:cubicBezTo>
                    <a:pt x="1882550" y="558471"/>
                    <a:pt x="1936328" y="558471"/>
                    <a:pt x="1990116" y="556062"/>
                  </a:cubicBezTo>
                  <a:cubicBezTo>
                    <a:pt x="2043837" y="556062"/>
                    <a:pt x="2137373" y="533201"/>
                    <a:pt x="2153470" y="513485"/>
                  </a:cubicBezTo>
                  <a:cubicBezTo>
                    <a:pt x="2169567" y="493768"/>
                    <a:pt x="2174996" y="489006"/>
                    <a:pt x="2198333" y="481957"/>
                  </a:cubicBezTo>
                  <a:cubicBezTo>
                    <a:pt x="2221669" y="474909"/>
                    <a:pt x="2210525" y="464431"/>
                    <a:pt x="2229193" y="450429"/>
                  </a:cubicBezTo>
                  <a:lnTo>
                    <a:pt x="2250910" y="421854"/>
                  </a:lnTo>
                  <a:lnTo>
                    <a:pt x="2289773" y="234688"/>
                  </a:lnTo>
                  <a:lnTo>
                    <a:pt x="2293583" y="1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218FDD4-92B5-467E-B844-4B39C8611867}"/>
                </a:ext>
              </a:extLst>
            </p:cNvPr>
            <p:cNvGrpSpPr/>
            <p:nvPr/>
          </p:nvGrpSpPr>
          <p:grpSpPr>
            <a:xfrm>
              <a:off x="4815409" y="1373716"/>
              <a:ext cx="4976291" cy="4555154"/>
              <a:chOff x="1459879" y="1178826"/>
              <a:chExt cx="5514975" cy="5048250"/>
            </a:xfrm>
            <a:grpFill/>
          </p:grpSpPr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42C1CC07-AF07-421B-AACE-C6E0FA86E852}"/>
                  </a:ext>
                </a:extLst>
              </p:cNvPr>
              <p:cNvSpPr/>
              <p:nvPr/>
            </p:nvSpPr>
            <p:spPr>
              <a:xfrm>
                <a:off x="3914793" y="3320179"/>
                <a:ext cx="19050" cy="19050"/>
              </a:xfrm>
              <a:custGeom>
                <a:avLst/>
                <a:gdLst>
                  <a:gd name="connsiteX0" fmla="*/ 7697 w 19050"/>
                  <a:gd name="connsiteY0" fmla="*/ 8046 h 19050"/>
                  <a:gd name="connsiteX1" fmla="*/ 11698 w 19050"/>
                  <a:gd name="connsiteY1" fmla="*/ 11190 h 19050"/>
                  <a:gd name="connsiteX2" fmla="*/ 7697 w 19050"/>
                  <a:gd name="connsiteY2" fmla="*/ 8046 h 19050"/>
                  <a:gd name="connsiteX3" fmla="*/ 7697 w 19050"/>
                  <a:gd name="connsiteY3" fmla="*/ 804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7697" y="8046"/>
                    </a:moveTo>
                    <a:cubicBezTo>
                      <a:pt x="5697" y="10618"/>
                      <a:pt x="9603" y="13761"/>
                      <a:pt x="11698" y="11190"/>
                    </a:cubicBezTo>
                    <a:cubicBezTo>
                      <a:pt x="13794" y="8713"/>
                      <a:pt x="9793" y="5570"/>
                      <a:pt x="7697" y="8046"/>
                    </a:cubicBezTo>
                    <a:cubicBezTo>
                      <a:pt x="7316" y="8618"/>
                      <a:pt x="8078" y="7665"/>
                      <a:pt x="7697" y="80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B14AB51-79F8-491B-91C2-BBFA71F64CBB}"/>
                  </a:ext>
                </a:extLst>
              </p:cNvPr>
              <p:cNvSpPr/>
              <p:nvPr/>
            </p:nvSpPr>
            <p:spPr>
              <a:xfrm>
                <a:off x="3206782" y="1409219"/>
                <a:ext cx="9525" cy="9525"/>
              </a:xfrm>
              <a:custGeom>
                <a:avLst/>
                <a:gdLst>
                  <a:gd name="connsiteX0" fmla="*/ 7144 w 9525"/>
                  <a:gd name="connsiteY0" fmla="*/ 7529 h 9525"/>
                  <a:gd name="connsiteX1" fmla="*/ 7144 w 9525"/>
                  <a:gd name="connsiteY1" fmla="*/ 7529 h 9525"/>
                  <a:gd name="connsiteX2" fmla="*/ 7144 w 9525"/>
                  <a:gd name="connsiteY2" fmla="*/ 7529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9525">
                    <a:moveTo>
                      <a:pt x="7144" y="7529"/>
                    </a:moveTo>
                    <a:cubicBezTo>
                      <a:pt x="8096" y="6767"/>
                      <a:pt x="7429" y="7338"/>
                      <a:pt x="7144" y="7529"/>
                    </a:cubicBezTo>
                    <a:cubicBezTo>
                      <a:pt x="7334" y="7434"/>
                      <a:pt x="7239" y="7529"/>
                      <a:pt x="7144" y="752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68D16C7-FE30-4435-9895-E747F3A2BD78}"/>
                  </a:ext>
                </a:extLst>
              </p:cNvPr>
              <p:cNvSpPr/>
              <p:nvPr/>
            </p:nvSpPr>
            <p:spPr>
              <a:xfrm>
                <a:off x="1459879" y="1178826"/>
                <a:ext cx="5514975" cy="5048250"/>
              </a:xfrm>
              <a:custGeom>
                <a:avLst/>
                <a:gdLst>
                  <a:gd name="connsiteX0" fmla="*/ 5511946 w 5514975"/>
                  <a:gd name="connsiteY0" fmla="*/ 2148066 h 5048250"/>
                  <a:gd name="connsiteX1" fmla="*/ 5511946 w 5514975"/>
                  <a:gd name="connsiteY1" fmla="*/ 2148066 h 5048250"/>
                  <a:gd name="connsiteX2" fmla="*/ 5486799 w 5514975"/>
                  <a:gd name="connsiteY2" fmla="*/ 2140160 h 5048250"/>
                  <a:gd name="connsiteX3" fmla="*/ 5469655 w 5514975"/>
                  <a:gd name="connsiteY3" fmla="*/ 2132826 h 5048250"/>
                  <a:gd name="connsiteX4" fmla="*/ 5431555 w 5514975"/>
                  <a:gd name="connsiteY4" fmla="*/ 2117015 h 5048250"/>
                  <a:gd name="connsiteX5" fmla="*/ 5328399 w 5514975"/>
                  <a:gd name="connsiteY5" fmla="*/ 2099774 h 5048250"/>
                  <a:gd name="connsiteX6" fmla="*/ 5247341 w 5514975"/>
                  <a:gd name="connsiteY6" fmla="*/ 2126635 h 5048250"/>
                  <a:gd name="connsiteX7" fmla="*/ 5218480 w 5514975"/>
                  <a:gd name="connsiteY7" fmla="*/ 2146542 h 5048250"/>
                  <a:gd name="connsiteX8" fmla="*/ 5209051 w 5514975"/>
                  <a:gd name="connsiteY8" fmla="*/ 2153400 h 5048250"/>
                  <a:gd name="connsiteX9" fmla="*/ 5195049 w 5514975"/>
                  <a:gd name="connsiteY9" fmla="*/ 2148828 h 5048250"/>
                  <a:gd name="connsiteX10" fmla="*/ 5154282 w 5514975"/>
                  <a:gd name="connsiteY10" fmla="*/ 2133207 h 5048250"/>
                  <a:gd name="connsiteX11" fmla="*/ 5114658 w 5514975"/>
                  <a:gd name="connsiteY11" fmla="*/ 2120920 h 5048250"/>
                  <a:gd name="connsiteX12" fmla="*/ 5138375 w 5514975"/>
                  <a:gd name="connsiteY12" fmla="*/ 2110537 h 5048250"/>
                  <a:gd name="connsiteX13" fmla="*/ 5166378 w 5514975"/>
                  <a:gd name="connsiteY13" fmla="*/ 2093297 h 5048250"/>
                  <a:gd name="connsiteX14" fmla="*/ 5205907 w 5514975"/>
                  <a:gd name="connsiteY14" fmla="*/ 2060531 h 5048250"/>
                  <a:gd name="connsiteX15" fmla="*/ 5215718 w 5514975"/>
                  <a:gd name="connsiteY15" fmla="*/ 2051197 h 5048250"/>
                  <a:gd name="connsiteX16" fmla="*/ 5229624 w 5514975"/>
                  <a:gd name="connsiteY16" fmla="*/ 2044624 h 5048250"/>
                  <a:gd name="connsiteX17" fmla="*/ 5260771 w 5514975"/>
                  <a:gd name="connsiteY17" fmla="*/ 2032909 h 5048250"/>
                  <a:gd name="connsiteX18" fmla="*/ 5309920 w 5514975"/>
                  <a:gd name="connsiteY18" fmla="*/ 2000333 h 5048250"/>
                  <a:gd name="connsiteX19" fmla="*/ 5382501 w 5514975"/>
                  <a:gd name="connsiteY19" fmla="*/ 1900511 h 5048250"/>
                  <a:gd name="connsiteX20" fmla="*/ 5415743 w 5514975"/>
                  <a:gd name="connsiteY20" fmla="*/ 1841266 h 5048250"/>
                  <a:gd name="connsiteX21" fmla="*/ 5426887 w 5514975"/>
                  <a:gd name="connsiteY21" fmla="*/ 1818025 h 5048250"/>
                  <a:gd name="connsiteX22" fmla="*/ 5427078 w 5514975"/>
                  <a:gd name="connsiteY22" fmla="*/ 1805071 h 5048250"/>
                  <a:gd name="connsiteX23" fmla="*/ 5414504 w 5514975"/>
                  <a:gd name="connsiteY23" fmla="*/ 1808500 h 5048250"/>
                  <a:gd name="connsiteX24" fmla="*/ 5394883 w 5514975"/>
                  <a:gd name="connsiteY24" fmla="*/ 1814215 h 5048250"/>
                  <a:gd name="connsiteX25" fmla="*/ 5350306 w 5514975"/>
                  <a:gd name="connsiteY25" fmla="*/ 1826121 h 5048250"/>
                  <a:gd name="connsiteX26" fmla="*/ 5247055 w 5514975"/>
                  <a:gd name="connsiteY26" fmla="*/ 1881366 h 5048250"/>
                  <a:gd name="connsiteX27" fmla="*/ 5201240 w 5514975"/>
                  <a:gd name="connsiteY27" fmla="*/ 2006334 h 5048250"/>
                  <a:gd name="connsiteX28" fmla="*/ 5200287 w 5514975"/>
                  <a:gd name="connsiteY28" fmla="*/ 2043577 h 5048250"/>
                  <a:gd name="connsiteX29" fmla="*/ 5144662 w 5514975"/>
                  <a:gd name="connsiteY29" fmla="*/ 2088344 h 5048250"/>
                  <a:gd name="connsiteX30" fmla="*/ 5076177 w 5514975"/>
                  <a:gd name="connsiteY30" fmla="*/ 2114062 h 5048250"/>
                  <a:gd name="connsiteX31" fmla="*/ 5051507 w 5514975"/>
                  <a:gd name="connsiteY31" fmla="*/ 2113681 h 5048250"/>
                  <a:gd name="connsiteX32" fmla="*/ 5017408 w 5514975"/>
                  <a:gd name="connsiteY32" fmla="*/ 2114633 h 5048250"/>
                  <a:gd name="connsiteX33" fmla="*/ 4919776 w 5514975"/>
                  <a:gd name="connsiteY33" fmla="*/ 2117872 h 5048250"/>
                  <a:gd name="connsiteX34" fmla="*/ 4947685 w 5514975"/>
                  <a:gd name="connsiteY34" fmla="*/ 2089963 h 5048250"/>
                  <a:gd name="connsiteX35" fmla="*/ 4969783 w 5514975"/>
                  <a:gd name="connsiteY35" fmla="*/ 2063008 h 5048250"/>
                  <a:gd name="connsiteX36" fmla="*/ 4984927 w 5514975"/>
                  <a:gd name="connsiteY36" fmla="*/ 2044243 h 5048250"/>
                  <a:gd name="connsiteX37" fmla="*/ 4996357 w 5514975"/>
                  <a:gd name="connsiteY37" fmla="*/ 2036814 h 5048250"/>
                  <a:gd name="connsiteX38" fmla="*/ 5050173 w 5514975"/>
                  <a:gd name="connsiteY38" fmla="*/ 2013954 h 5048250"/>
                  <a:gd name="connsiteX39" fmla="*/ 5123992 w 5514975"/>
                  <a:gd name="connsiteY39" fmla="*/ 1934992 h 5048250"/>
                  <a:gd name="connsiteX40" fmla="*/ 5153996 w 5514975"/>
                  <a:gd name="connsiteY40" fmla="*/ 1847457 h 5048250"/>
                  <a:gd name="connsiteX41" fmla="*/ 5168855 w 5514975"/>
                  <a:gd name="connsiteY41" fmla="*/ 1796593 h 5048250"/>
                  <a:gd name="connsiteX42" fmla="*/ 5176475 w 5514975"/>
                  <a:gd name="connsiteY42" fmla="*/ 1769066 h 5048250"/>
                  <a:gd name="connsiteX43" fmla="*/ 5167617 w 5514975"/>
                  <a:gd name="connsiteY43" fmla="*/ 1772590 h 5048250"/>
                  <a:gd name="connsiteX44" fmla="*/ 5148757 w 5514975"/>
                  <a:gd name="connsiteY44" fmla="*/ 1784497 h 5048250"/>
                  <a:gd name="connsiteX45" fmla="*/ 5103609 w 5514975"/>
                  <a:gd name="connsiteY45" fmla="*/ 1803928 h 5048250"/>
                  <a:gd name="connsiteX46" fmla="*/ 5052364 w 5514975"/>
                  <a:gd name="connsiteY46" fmla="*/ 1834027 h 5048250"/>
                  <a:gd name="connsiteX47" fmla="*/ 5008930 w 5514975"/>
                  <a:gd name="connsiteY47" fmla="*/ 1873555 h 5048250"/>
                  <a:gd name="connsiteX48" fmla="*/ 4987785 w 5514975"/>
                  <a:gd name="connsiteY48" fmla="*/ 1907655 h 5048250"/>
                  <a:gd name="connsiteX49" fmla="*/ 4970640 w 5514975"/>
                  <a:gd name="connsiteY49" fmla="*/ 2007763 h 5048250"/>
                  <a:gd name="connsiteX50" fmla="*/ 4971687 w 5514975"/>
                  <a:gd name="connsiteY50" fmla="*/ 2033480 h 5048250"/>
                  <a:gd name="connsiteX51" fmla="*/ 4954923 w 5514975"/>
                  <a:gd name="connsiteY51" fmla="*/ 2059198 h 5048250"/>
                  <a:gd name="connsiteX52" fmla="*/ 4895011 w 5514975"/>
                  <a:gd name="connsiteY52" fmla="*/ 2115300 h 5048250"/>
                  <a:gd name="connsiteX53" fmla="*/ 4837194 w 5514975"/>
                  <a:gd name="connsiteY53" fmla="*/ 2125682 h 5048250"/>
                  <a:gd name="connsiteX54" fmla="*/ 4701844 w 5514975"/>
                  <a:gd name="connsiteY54" fmla="*/ 2140446 h 5048250"/>
                  <a:gd name="connsiteX55" fmla="*/ 4592212 w 5514975"/>
                  <a:gd name="connsiteY55" fmla="*/ 2147304 h 5048250"/>
                  <a:gd name="connsiteX56" fmla="*/ 4532490 w 5514975"/>
                  <a:gd name="connsiteY56" fmla="*/ 2139970 h 5048250"/>
                  <a:gd name="connsiteX57" fmla="*/ 4490961 w 5514975"/>
                  <a:gd name="connsiteY57" fmla="*/ 2133398 h 5048250"/>
                  <a:gd name="connsiteX58" fmla="*/ 4399235 w 5514975"/>
                  <a:gd name="connsiteY58" fmla="*/ 2120920 h 5048250"/>
                  <a:gd name="connsiteX59" fmla="*/ 4357992 w 5514975"/>
                  <a:gd name="connsiteY59" fmla="*/ 2114443 h 5048250"/>
                  <a:gd name="connsiteX60" fmla="*/ 4312081 w 5514975"/>
                  <a:gd name="connsiteY60" fmla="*/ 2107204 h 5048250"/>
                  <a:gd name="connsiteX61" fmla="*/ 4204068 w 5514975"/>
                  <a:gd name="connsiteY61" fmla="*/ 2087868 h 5048250"/>
                  <a:gd name="connsiteX62" fmla="*/ 4141107 w 5514975"/>
                  <a:gd name="connsiteY62" fmla="*/ 2080248 h 5048250"/>
                  <a:gd name="connsiteX63" fmla="*/ 4228833 w 5514975"/>
                  <a:gd name="connsiteY63" fmla="*/ 2032909 h 5048250"/>
                  <a:gd name="connsiteX64" fmla="*/ 4341418 w 5514975"/>
                  <a:gd name="connsiteY64" fmla="*/ 2023860 h 5048250"/>
                  <a:gd name="connsiteX65" fmla="*/ 4357420 w 5514975"/>
                  <a:gd name="connsiteY65" fmla="*/ 2026146 h 5048250"/>
                  <a:gd name="connsiteX66" fmla="*/ 4374565 w 5514975"/>
                  <a:gd name="connsiteY66" fmla="*/ 2029956 h 5048250"/>
                  <a:gd name="connsiteX67" fmla="*/ 4432382 w 5514975"/>
                  <a:gd name="connsiteY67" fmla="*/ 2029480 h 5048250"/>
                  <a:gd name="connsiteX68" fmla="*/ 4558683 w 5514975"/>
                  <a:gd name="connsiteY68" fmla="*/ 1964805 h 5048250"/>
                  <a:gd name="connsiteX69" fmla="*/ 4598974 w 5514975"/>
                  <a:gd name="connsiteY69" fmla="*/ 1907083 h 5048250"/>
                  <a:gd name="connsiteX70" fmla="*/ 4606594 w 5514975"/>
                  <a:gd name="connsiteY70" fmla="*/ 1891653 h 5048250"/>
                  <a:gd name="connsiteX71" fmla="*/ 4592212 w 5514975"/>
                  <a:gd name="connsiteY71" fmla="*/ 1889653 h 5048250"/>
                  <a:gd name="connsiteX72" fmla="*/ 4478102 w 5514975"/>
                  <a:gd name="connsiteY72" fmla="*/ 1900702 h 5048250"/>
                  <a:gd name="connsiteX73" fmla="*/ 4417618 w 5514975"/>
                  <a:gd name="connsiteY73" fmla="*/ 1927848 h 5048250"/>
                  <a:gd name="connsiteX74" fmla="*/ 4380566 w 5514975"/>
                  <a:gd name="connsiteY74" fmla="*/ 1968615 h 5048250"/>
                  <a:gd name="connsiteX75" fmla="*/ 4370374 w 5514975"/>
                  <a:gd name="connsiteY75" fmla="*/ 1984426 h 5048250"/>
                  <a:gd name="connsiteX76" fmla="*/ 4365516 w 5514975"/>
                  <a:gd name="connsiteY76" fmla="*/ 1995571 h 5048250"/>
                  <a:gd name="connsiteX77" fmla="*/ 4361706 w 5514975"/>
                  <a:gd name="connsiteY77" fmla="*/ 2002810 h 5048250"/>
                  <a:gd name="connsiteX78" fmla="*/ 4356182 w 5514975"/>
                  <a:gd name="connsiteY78" fmla="*/ 2008715 h 5048250"/>
                  <a:gd name="connsiteX79" fmla="*/ 4321987 w 5514975"/>
                  <a:gd name="connsiteY79" fmla="*/ 2010430 h 5048250"/>
                  <a:gd name="connsiteX80" fmla="*/ 4298365 w 5514975"/>
                  <a:gd name="connsiteY80" fmla="*/ 2011763 h 5048250"/>
                  <a:gd name="connsiteX81" fmla="*/ 4216069 w 5514975"/>
                  <a:gd name="connsiteY81" fmla="*/ 2022717 h 5048250"/>
                  <a:gd name="connsiteX82" fmla="*/ 4144917 w 5514975"/>
                  <a:gd name="connsiteY82" fmla="*/ 2048053 h 5048250"/>
                  <a:gd name="connsiteX83" fmla="*/ 4113390 w 5514975"/>
                  <a:gd name="connsiteY83" fmla="*/ 2077390 h 5048250"/>
                  <a:gd name="connsiteX84" fmla="*/ 3984231 w 5514975"/>
                  <a:gd name="connsiteY84" fmla="*/ 2063484 h 5048250"/>
                  <a:gd name="connsiteX85" fmla="*/ 3880599 w 5514975"/>
                  <a:gd name="connsiteY85" fmla="*/ 2061865 h 5048250"/>
                  <a:gd name="connsiteX86" fmla="*/ 4125391 w 5514975"/>
                  <a:gd name="connsiteY86" fmla="*/ 1880985 h 5048250"/>
                  <a:gd name="connsiteX87" fmla="*/ 4261694 w 5514975"/>
                  <a:gd name="connsiteY87" fmla="*/ 1836694 h 5048250"/>
                  <a:gd name="connsiteX88" fmla="*/ 4315606 w 5514975"/>
                  <a:gd name="connsiteY88" fmla="*/ 1816405 h 5048250"/>
                  <a:gd name="connsiteX89" fmla="*/ 4338942 w 5514975"/>
                  <a:gd name="connsiteY89" fmla="*/ 1806595 h 5048250"/>
                  <a:gd name="connsiteX90" fmla="*/ 4350562 w 5514975"/>
                  <a:gd name="connsiteY90" fmla="*/ 1803928 h 5048250"/>
                  <a:gd name="connsiteX91" fmla="*/ 4370089 w 5514975"/>
                  <a:gd name="connsiteY91" fmla="*/ 1811548 h 5048250"/>
                  <a:gd name="connsiteX92" fmla="*/ 4447241 w 5514975"/>
                  <a:gd name="connsiteY92" fmla="*/ 1795641 h 5048250"/>
                  <a:gd name="connsiteX93" fmla="*/ 4519631 w 5514975"/>
                  <a:gd name="connsiteY93" fmla="*/ 1730966 h 5048250"/>
                  <a:gd name="connsiteX94" fmla="*/ 4566589 w 5514975"/>
                  <a:gd name="connsiteY94" fmla="*/ 1647527 h 5048250"/>
                  <a:gd name="connsiteX95" fmla="*/ 4582972 w 5514975"/>
                  <a:gd name="connsiteY95" fmla="*/ 1596759 h 5048250"/>
                  <a:gd name="connsiteX96" fmla="*/ 4568399 w 5514975"/>
                  <a:gd name="connsiteY96" fmla="*/ 1598092 h 5048250"/>
                  <a:gd name="connsiteX97" fmla="*/ 4525917 w 5514975"/>
                  <a:gd name="connsiteY97" fmla="*/ 1613618 h 5048250"/>
                  <a:gd name="connsiteX98" fmla="*/ 4476483 w 5514975"/>
                  <a:gd name="connsiteY98" fmla="*/ 1633811 h 5048250"/>
                  <a:gd name="connsiteX99" fmla="*/ 4354182 w 5514975"/>
                  <a:gd name="connsiteY99" fmla="*/ 1736300 h 5048250"/>
                  <a:gd name="connsiteX100" fmla="*/ 4343704 w 5514975"/>
                  <a:gd name="connsiteY100" fmla="*/ 1763732 h 5048250"/>
                  <a:gd name="connsiteX101" fmla="*/ 4339323 w 5514975"/>
                  <a:gd name="connsiteY101" fmla="*/ 1781830 h 5048250"/>
                  <a:gd name="connsiteX102" fmla="*/ 4327607 w 5514975"/>
                  <a:gd name="connsiteY102" fmla="*/ 1794022 h 5048250"/>
                  <a:gd name="connsiteX103" fmla="*/ 4247311 w 5514975"/>
                  <a:gd name="connsiteY103" fmla="*/ 1825740 h 5048250"/>
                  <a:gd name="connsiteX104" fmla="*/ 4125391 w 5514975"/>
                  <a:gd name="connsiteY104" fmla="*/ 1864507 h 5048250"/>
                  <a:gd name="connsiteX105" fmla="*/ 4109484 w 5514975"/>
                  <a:gd name="connsiteY105" fmla="*/ 1869650 h 5048250"/>
                  <a:gd name="connsiteX106" fmla="*/ 4136535 w 5514975"/>
                  <a:gd name="connsiteY106" fmla="*/ 1836598 h 5048250"/>
                  <a:gd name="connsiteX107" fmla="*/ 4177779 w 5514975"/>
                  <a:gd name="connsiteY107" fmla="*/ 1774019 h 5048250"/>
                  <a:gd name="connsiteX108" fmla="*/ 4182922 w 5514975"/>
                  <a:gd name="connsiteY108" fmla="*/ 1762494 h 5048250"/>
                  <a:gd name="connsiteX109" fmla="*/ 4197019 w 5514975"/>
                  <a:gd name="connsiteY109" fmla="*/ 1757731 h 5048250"/>
                  <a:gd name="connsiteX110" fmla="*/ 4237024 w 5514975"/>
                  <a:gd name="connsiteY110" fmla="*/ 1731919 h 5048250"/>
                  <a:gd name="connsiteX111" fmla="*/ 4275029 w 5514975"/>
                  <a:gd name="connsiteY111" fmla="*/ 1644670 h 5048250"/>
                  <a:gd name="connsiteX112" fmla="*/ 4275315 w 5514975"/>
                  <a:gd name="connsiteY112" fmla="*/ 1554087 h 5048250"/>
                  <a:gd name="connsiteX113" fmla="*/ 4271219 w 5514975"/>
                  <a:gd name="connsiteY113" fmla="*/ 1520749 h 5048250"/>
                  <a:gd name="connsiteX114" fmla="*/ 4258456 w 5514975"/>
                  <a:gd name="connsiteY114" fmla="*/ 1487221 h 5048250"/>
                  <a:gd name="connsiteX115" fmla="*/ 4255312 w 5514975"/>
                  <a:gd name="connsiteY115" fmla="*/ 1494460 h 5048250"/>
                  <a:gd name="connsiteX116" fmla="*/ 4249883 w 5514975"/>
                  <a:gd name="connsiteY116" fmla="*/ 1504652 h 5048250"/>
                  <a:gd name="connsiteX117" fmla="*/ 4223880 w 5514975"/>
                  <a:gd name="connsiteY117" fmla="*/ 1535037 h 5048250"/>
                  <a:gd name="connsiteX118" fmla="*/ 4156443 w 5514975"/>
                  <a:gd name="connsiteY118" fmla="*/ 1610570 h 5048250"/>
                  <a:gd name="connsiteX119" fmla="*/ 4133202 w 5514975"/>
                  <a:gd name="connsiteY119" fmla="*/ 1683722 h 5048250"/>
                  <a:gd name="connsiteX120" fmla="*/ 4166158 w 5514975"/>
                  <a:gd name="connsiteY120" fmla="*/ 1757636 h 5048250"/>
                  <a:gd name="connsiteX121" fmla="*/ 4152347 w 5514975"/>
                  <a:gd name="connsiteY121" fmla="*/ 1782115 h 5048250"/>
                  <a:gd name="connsiteX122" fmla="*/ 4131678 w 5514975"/>
                  <a:gd name="connsiteY122" fmla="*/ 1816977 h 5048250"/>
                  <a:gd name="connsiteX123" fmla="*/ 4090625 w 5514975"/>
                  <a:gd name="connsiteY123" fmla="*/ 1870317 h 5048250"/>
                  <a:gd name="connsiteX124" fmla="*/ 4082433 w 5514975"/>
                  <a:gd name="connsiteY124" fmla="*/ 1878794 h 5048250"/>
                  <a:gd name="connsiteX125" fmla="*/ 4063098 w 5514975"/>
                  <a:gd name="connsiteY125" fmla="*/ 1886033 h 5048250"/>
                  <a:gd name="connsiteX126" fmla="*/ 4035666 w 5514975"/>
                  <a:gd name="connsiteY126" fmla="*/ 1898701 h 5048250"/>
                  <a:gd name="connsiteX127" fmla="*/ 3982135 w 5514975"/>
                  <a:gd name="connsiteY127" fmla="*/ 1929372 h 5048250"/>
                  <a:gd name="connsiteX128" fmla="*/ 3989565 w 5514975"/>
                  <a:gd name="connsiteY128" fmla="*/ 1898416 h 5048250"/>
                  <a:gd name="connsiteX129" fmla="*/ 4003852 w 5514975"/>
                  <a:gd name="connsiteY129" fmla="*/ 1877365 h 5048250"/>
                  <a:gd name="connsiteX130" fmla="*/ 4037571 w 5514975"/>
                  <a:gd name="connsiteY130" fmla="*/ 1808500 h 5048250"/>
                  <a:gd name="connsiteX131" fmla="*/ 4019759 w 5514975"/>
                  <a:gd name="connsiteY131" fmla="*/ 1747444 h 5048250"/>
                  <a:gd name="connsiteX132" fmla="*/ 4005757 w 5514975"/>
                  <a:gd name="connsiteY132" fmla="*/ 1717345 h 5048250"/>
                  <a:gd name="connsiteX133" fmla="*/ 3983373 w 5514975"/>
                  <a:gd name="connsiteY133" fmla="*/ 1686865 h 5048250"/>
                  <a:gd name="connsiteX134" fmla="*/ 3959561 w 5514975"/>
                  <a:gd name="connsiteY134" fmla="*/ 1715345 h 5048250"/>
                  <a:gd name="connsiteX135" fmla="*/ 3939844 w 5514975"/>
                  <a:gd name="connsiteY135" fmla="*/ 1756207 h 5048250"/>
                  <a:gd name="connsiteX136" fmla="*/ 3937939 w 5514975"/>
                  <a:gd name="connsiteY136" fmla="*/ 1835646 h 5048250"/>
                  <a:gd name="connsiteX137" fmla="*/ 3959751 w 5514975"/>
                  <a:gd name="connsiteY137" fmla="*/ 1872508 h 5048250"/>
                  <a:gd name="connsiteX138" fmla="*/ 3967752 w 5514975"/>
                  <a:gd name="connsiteY138" fmla="*/ 1881556 h 5048250"/>
                  <a:gd name="connsiteX139" fmla="*/ 3979849 w 5514975"/>
                  <a:gd name="connsiteY139" fmla="*/ 1894415 h 5048250"/>
                  <a:gd name="connsiteX140" fmla="*/ 3972610 w 5514975"/>
                  <a:gd name="connsiteY140" fmla="*/ 1932706 h 5048250"/>
                  <a:gd name="connsiteX141" fmla="*/ 3953179 w 5514975"/>
                  <a:gd name="connsiteY141" fmla="*/ 1948612 h 5048250"/>
                  <a:gd name="connsiteX142" fmla="*/ 3858882 w 5514975"/>
                  <a:gd name="connsiteY142" fmla="*/ 2050149 h 5048250"/>
                  <a:gd name="connsiteX143" fmla="*/ 3854500 w 5514975"/>
                  <a:gd name="connsiteY143" fmla="*/ 2058245 h 5048250"/>
                  <a:gd name="connsiteX144" fmla="*/ 3846308 w 5514975"/>
                  <a:gd name="connsiteY144" fmla="*/ 2062817 h 5048250"/>
                  <a:gd name="connsiteX145" fmla="*/ 3802684 w 5514975"/>
                  <a:gd name="connsiteY145" fmla="*/ 2065579 h 5048250"/>
                  <a:gd name="connsiteX146" fmla="*/ 3706482 w 5514975"/>
                  <a:gd name="connsiteY146" fmla="*/ 2077676 h 5048250"/>
                  <a:gd name="connsiteX147" fmla="*/ 3596849 w 5514975"/>
                  <a:gd name="connsiteY147" fmla="*/ 2100060 h 5048250"/>
                  <a:gd name="connsiteX148" fmla="*/ 3492645 w 5514975"/>
                  <a:gd name="connsiteY148" fmla="*/ 2121967 h 5048250"/>
                  <a:gd name="connsiteX149" fmla="*/ 3371392 w 5514975"/>
                  <a:gd name="connsiteY149" fmla="*/ 2145970 h 5048250"/>
                  <a:gd name="connsiteX150" fmla="*/ 3323291 w 5514975"/>
                  <a:gd name="connsiteY150" fmla="*/ 2150924 h 5048250"/>
                  <a:gd name="connsiteX151" fmla="*/ 3263379 w 5514975"/>
                  <a:gd name="connsiteY151" fmla="*/ 2155210 h 5048250"/>
                  <a:gd name="connsiteX152" fmla="*/ 3232232 w 5514975"/>
                  <a:gd name="connsiteY152" fmla="*/ 2152352 h 5048250"/>
                  <a:gd name="connsiteX153" fmla="*/ 3323577 w 5514975"/>
                  <a:gd name="connsiteY153" fmla="*/ 2083105 h 5048250"/>
                  <a:gd name="connsiteX154" fmla="*/ 3408825 w 5514975"/>
                  <a:gd name="connsiteY154" fmla="*/ 2056912 h 5048250"/>
                  <a:gd name="connsiteX155" fmla="*/ 3471690 w 5514975"/>
                  <a:gd name="connsiteY155" fmla="*/ 1965662 h 5048250"/>
                  <a:gd name="connsiteX156" fmla="*/ 3494265 w 5514975"/>
                  <a:gd name="connsiteY156" fmla="*/ 1919752 h 5048250"/>
                  <a:gd name="connsiteX157" fmla="*/ 3503599 w 5514975"/>
                  <a:gd name="connsiteY157" fmla="*/ 1894129 h 5048250"/>
                  <a:gd name="connsiteX158" fmla="*/ 3504837 w 5514975"/>
                  <a:gd name="connsiteY158" fmla="*/ 1889081 h 5048250"/>
                  <a:gd name="connsiteX159" fmla="*/ 3496836 w 5514975"/>
                  <a:gd name="connsiteY159" fmla="*/ 1888605 h 5048250"/>
                  <a:gd name="connsiteX160" fmla="*/ 3452736 w 5514975"/>
                  <a:gd name="connsiteY160" fmla="*/ 1901749 h 5048250"/>
                  <a:gd name="connsiteX161" fmla="*/ 3402729 w 5514975"/>
                  <a:gd name="connsiteY161" fmla="*/ 1914132 h 5048250"/>
                  <a:gd name="connsiteX162" fmla="*/ 3341388 w 5514975"/>
                  <a:gd name="connsiteY162" fmla="*/ 1943278 h 5048250"/>
                  <a:gd name="connsiteX163" fmla="*/ 3300907 w 5514975"/>
                  <a:gd name="connsiteY163" fmla="*/ 1984712 h 5048250"/>
                  <a:gd name="connsiteX164" fmla="*/ 3294811 w 5514975"/>
                  <a:gd name="connsiteY164" fmla="*/ 2054721 h 5048250"/>
                  <a:gd name="connsiteX165" fmla="*/ 3302907 w 5514975"/>
                  <a:gd name="connsiteY165" fmla="*/ 2066913 h 5048250"/>
                  <a:gd name="connsiteX166" fmla="*/ 3301002 w 5514975"/>
                  <a:gd name="connsiteY166" fmla="*/ 2072818 h 5048250"/>
                  <a:gd name="connsiteX167" fmla="*/ 3272713 w 5514975"/>
                  <a:gd name="connsiteY167" fmla="*/ 2095869 h 5048250"/>
                  <a:gd name="connsiteX168" fmla="*/ 3185369 w 5514975"/>
                  <a:gd name="connsiteY168" fmla="*/ 2144446 h 5048250"/>
                  <a:gd name="connsiteX169" fmla="*/ 3161271 w 5514975"/>
                  <a:gd name="connsiteY169" fmla="*/ 2150352 h 5048250"/>
                  <a:gd name="connsiteX170" fmla="*/ 3134791 w 5514975"/>
                  <a:gd name="connsiteY170" fmla="*/ 2149399 h 5048250"/>
                  <a:gd name="connsiteX171" fmla="*/ 3090881 w 5514975"/>
                  <a:gd name="connsiteY171" fmla="*/ 2148066 h 5048250"/>
                  <a:gd name="connsiteX172" fmla="*/ 2908858 w 5514975"/>
                  <a:gd name="connsiteY172" fmla="*/ 2143970 h 5048250"/>
                  <a:gd name="connsiteX173" fmla="*/ 2990868 w 5514975"/>
                  <a:gd name="connsiteY173" fmla="*/ 2034814 h 5048250"/>
                  <a:gd name="connsiteX174" fmla="*/ 2995345 w 5514975"/>
                  <a:gd name="connsiteY174" fmla="*/ 2024336 h 5048250"/>
                  <a:gd name="connsiteX175" fmla="*/ 3004108 w 5514975"/>
                  <a:gd name="connsiteY175" fmla="*/ 2019002 h 5048250"/>
                  <a:gd name="connsiteX176" fmla="*/ 3021444 w 5514975"/>
                  <a:gd name="connsiteY176" fmla="*/ 2009858 h 5048250"/>
                  <a:gd name="connsiteX177" fmla="*/ 3062401 w 5514975"/>
                  <a:gd name="connsiteY177" fmla="*/ 1982236 h 5048250"/>
                  <a:gd name="connsiteX178" fmla="*/ 3111455 w 5514975"/>
                  <a:gd name="connsiteY178" fmla="*/ 1938802 h 5048250"/>
                  <a:gd name="connsiteX179" fmla="*/ 3153174 w 5514975"/>
                  <a:gd name="connsiteY179" fmla="*/ 1890891 h 5048250"/>
                  <a:gd name="connsiteX180" fmla="*/ 3161747 w 5514975"/>
                  <a:gd name="connsiteY180" fmla="*/ 1881556 h 5048250"/>
                  <a:gd name="connsiteX181" fmla="*/ 3171272 w 5514975"/>
                  <a:gd name="connsiteY181" fmla="*/ 1884509 h 5048250"/>
                  <a:gd name="connsiteX182" fmla="*/ 3182035 w 5514975"/>
                  <a:gd name="connsiteY182" fmla="*/ 1885747 h 5048250"/>
                  <a:gd name="connsiteX183" fmla="*/ 3213658 w 5514975"/>
                  <a:gd name="connsiteY183" fmla="*/ 1880985 h 5048250"/>
                  <a:gd name="connsiteX184" fmla="*/ 3317004 w 5514975"/>
                  <a:gd name="connsiteY184" fmla="*/ 1779163 h 5048250"/>
                  <a:gd name="connsiteX185" fmla="*/ 3360343 w 5514975"/>
                  <a:gd name="connsiteY185" fmla="*/ 1679817 h 5048250"/>
                  <a:gd name="connsiteX186" fmla="*/ 3362915 w 5514975"/>
                  <a:gd name="connsiteY186" fmla="*/ 1646098 h 5048250"/>
                  <a:gd name="connsiteX187" fmla="*/ 3356724 w 5514975"/>
                  <a:gd name="connsiteY187" fmla="*/ 1651813 h 5048250"/>
                  <a:gd name="connsiteX188" fmla="*/ 3346151 w 5514975"/>
                  <a:gd name="connsiteY188" fmla="*/ 1658386 h 5048250"/>
                  <a:gd name="connsiteX189" fmla="*/ 3287191 w 5514975"/>
                  <a:gd name="connsiteY189" fmla="*/ 1681722 h 5048250"/>
                  <a:gd name="connsiteX190" fmla="*/ 3217087 w 5514975"/>
                  <a:gd name="connsiteY190" fmla="*/ 1708773 h 5048250"/>
                  <a:gd name="connsiteX191" fmla="*/ 3159937 w 5514975"/>
                  <a:gd name="connsiteY191" fmla="*/ 1752683 h 5048250"/>
                  <a:gd name="connsiteX192" fmla="*/ 3140982 w 5514975"/>
                  <a:gd name="connsiteY192" fmla="*/ 1778782 h 5048250"/>
                  <a:gd name="connsiteX193" fmla="*/ 3130981 w 5514975"/>
                  <a:gd name="connsiteY193" fmla="*/ 1842504 h 5048250"/>
                  <a:gd name="connsiteX194" fmla="*/ 3136791 w 5514975"/>
                  <a:gd name="connsiteY194" fmla="*/ 1856887 h 5048250"/>
                  <a:gd name="connsiteX195" fmla="*/ 3141554 w 5514975"/>
                  <a:gd name="connsiteY195" fmla="*/ 1864030 h 5048250"/>
                  <a:gd name="connsiteX196" fmla="*/ 3135363 w 5514975"/>
                  <a:gd name="connsiteY196" fmla="*/ 1877556 h 5048250"/>
                  <a:gd name="connsiteX197" fmla="*/ 3097644 w 5514975"/>
                  <a:gd name="connsiteY197" fmla="*/ 1921561 h 5048250"/>
                  <a:gd name="connsiteX198" fmla="*/ 3021063 w 5514975"/>
                  <a:gd name="connsiteY198" fmla="*/ 1988141 h 5048250"/>
                  <a:gd name="connsiteX199" fmla="*/ 3003822 w 5514975"/>
                  <a:gd name="connsiteY199" fmla="*/ 1999095 h 5048250"/>
                  <a:gd name="connsiteX200" fmla="*/ 3013443 w 5514975"/>
                  <a:gd name="connsiteY200" fmla="*/ 1961757 h 5048250"/>
                  <a:gd name="connsiteX201" fmla="*/ 3021539 w 5514975"/>
                  <a:gd name="connsiteY201" fmla="*/ 1921657 h 5048250"/>
                  <a:gd name="connsiteX202" fmla="*/ 3032397 w 5514975"/>
                  <a:gd name="connsiteY202" fmla="*/ 1810690 h 5048250"/>
                  <a:gd name="connsiteX203" fmla="*/ 3072116 w 5514975"/>
                  <a:gd name="connsiteY203" fmla="*/ 1783925 h 5048250"/>
                  <a:gd name="connsiteX204" fmla="*/ 3089547 w 5514975"/>
                  <a:gd name="connsiteY204" fmla="*/ 1728966 h 5048250"/>
                  <a:gd name="connsiteX205" fmla="*/ 3068497 w 5514975"/>
                  <a:gd name="connsiteY205" fmla="*/ 1640955 h 5048250"/>
                  <a:gd name="connsiteX206" fmla="*/ 3040589 w 5514975"/>
                  <a:gd name="connsiteY206" fmla="*/ 1572470 h 5048250"/>
                  <a:gd name="connsiteX207" fmla="*/ 3015919 w 5514975"/>
                  <a:gd name="connsiteY207" fmla="*/ 1506462 h 5048250"/>
                  <a:gd name="connsiteX208" fmla="*/ 3003251 w 5514975"/>
                  <a:gd name="connsiteY208" fmla="*/ 1485697 h 5048250"/>
                  <a:gd name="connsiteX209" fmla="*/ 2987725 w 5514975"/>
                  <a:gd name="connsiteY209" fmla="*/ 1516558 h 5048250"/>
                  <a:gd name="connsiteX210" fmla="*/ 2967341 w 5514975"/>
                  <a:gd name="connsiteY210" fmla="*/ 1559707 h 5048250"/>
                  <a:gd name="connsiteX211" fmla="*/ 2947053 w 5514975"/>
                  <a:gd name="connsiteY211" fmla="*/ 1673340 h 5048250"/>
                  <a:gd name="connsiteX212" fmla="*/ 2979915 w 5514975"/>
                  <a:gd name="connsiteY212" fmla="*/ 1761637 h 5048250"/>
                  <a:gd name="connsiteX213" fmla="*/ 3001632 w 5514975"/>
                  <a:gd name="connsiteY213" fmla="*/ 1790878 h 5048250"/>
                  <a:gd name="connsiteX214" fmla="*/ 3012871 w 5514975"/>
                  <a:gd name="connsiteY214" fmla="*/ 1800880 h 5048250"/>
                  <a:gd name="connsiteX215" fmla="*/ 3016014 w 5514975"/>
                  <a:gd name="connsiteY215" fmla="*/ 1805928 h 5048250"/>
                  <a:gd name="connsiteX216" fmla="*/ 3015443 w 5514975"/>
                  <a:gd name="connsiteY216" fmla="*/ 1822692 h 5048250"/>
                  <a:gd name="connsiteX217" fmla="*/ 2997155 w 5514975"/>
                  <a:gd name="connsiteY217" fmla="*/ 1962900 h 5048250"/>
                  <a:gd name="connsiteX218" fmla="*/ 2972580 w 5514975"/>
                  <a:gd name="connsiteY218" fmla="*/ 2030432 h 5048250"/>
                  <a:gd name="connsiteX219" fmla="*/ 2954864 w 5514975"/>
                  <a:gd name="connsiteY219" fmla="*/ 2058626 h 5048250"/>
                  <a:gd name="connsiteX220" fmla="*/ 2956388 w 5514975"/>
                  <a:gd name="connsiteY220" fmla="*/ 1992713 h 5048250"/>
                  <a:gd name="connsiteX221" fmla="*/ 2954769 w 5514975"/>
                  <a:gd name="connsiteY221" fmla="*/ 1975282 h 5048250"/>
                  <a:gd name="connsiteX222" fmla="*/ 2959436 w 5514975"/>
                  <a:gd name="connsiteY222" fmla="*/ 1964424 h 5048250"/>
                  <a:gd name="connsiteX223" fmla="*/ 2963055 w 5514975"/>
                  <a:gd name="connsiteY223" fmla="*/ 1933277 h 5048250"/>
                  <a:gd name="connsiteX224" fmla="*/ 2878949 w 5514975"/>
                  <a:gd name="connsiteY224" fmla="*/ 1823740 h 5048250"/>
                  <a:gd name="connsiteX225" fmla="*/ 2792939 w 5514975"/>
                  <a:gd name="connsiteY225" fmla="*/ 1795355 h 5048250"/>
                  <a:gd name="connsiteX226" fmla="*/ 2787319 w 5514975"/>
                  <a:gd name="connsiteY226" fmla="*/ 1794212 h 5048250"/>
                  <a:gd name="connsiteX227" fmla="*/ 2789986 w 5514975"/>
                  <a:gd name="connsiteY227" fmla="*/ 1807261 h 5048250"/>
                  <a:gd name="connsiteX228" fmla="*/ 2799035 w 5514975"/>
                  <a:gd name="connsiteY228" fmla="*/ 1838694 h 5048250"/>
                  <a:gd name="connsiteX229" fmla="*/ 2821704 w 5514975"/>
                  <a:gd name="connsiteY229" fmla="*/ 1902892 h 5048250"/>
                  <a:gd name="connsiteX230" fmla="*/ 2864948 w 5514975"/>
                  <a:gd name="connsiteY230" fmla="*/ 1972520 h 5048250"/>
                  <a:gd name="connsiteX231" fmla="*/ 2935909 w 5514975"/>
                  <a:gd name="connsiteY231" fmla="*/ 1991856 h 5048250"/>
                  <a:gd name="connsiteX232" fmla="*/ 2938100 w 5514975"/>
                  <a:gd name="connsiteY232" fmla="*/ 2036719 h 5048250"/>
                  <a:gd name="connsiteX233" fmla="*/ 2936385 w 5514975"/>
                  <a:gd name="connsiteY233" fmla="*/ 2064246 h 5048250"/>
                  <a:gd name="connsiteX234" fmla="*/ 2930004 w 5514975"/>
                  <a:gd name="connsiteY234" fmla="*/ 2088916 h 5048250"/>
                  <a:gd name="connsiteX235" fmla="*/ 2890761 w 5514975"/>
                  <a:gd name="connsiteY235" fmla="*/ 2128921 h 5048250"/>
                  <a:gd name="connsiteX236" fmla="*/ 2872854 w 5514975"/>
                  <a:gd name="connsiteY236" fmla="*/ 2144446 h 5048250"/>
                  <a:gd name="connsiteX237" fmla="*/ 2848850 w 5514975"/>
                  <a:gd name="connsiteY237" fmla="*/ 2144351 h 5048250"/>
                  <a:gd name="connsiteX238" fmla="*/ 2650921 w 5514975"/>
                  <a:gd name="connsiteY238" fmla="*/ 2160925 h 5048250"/>
                  <a:gd name="connsiteX239" fmla="*/ 2283732 w 5514975"/>
                  <a:gd name="connsiteY239" fmla="*/ 2258080 h 5048250"/>
                  <a:gd name="connsiteX240" fmla="*/ 2173623 w 5514975"/>
                  <a:gd name="connsiteY240" fmla="*/ 2317230 h 5048250"/>
                  <a:gd name="connsiteX241" fmla="*/ 2069801 w 5514975"/>
                  <a:gd name="connsiteY241" fmla="*/ 2393240 h 5048250"/>
                  <a:gd name="connsiteX242" fmla="*/ 2118950 w 5514975"/>
                  <a:gd name="connsiteY242" fmla="*/ 2239696 h 5048250"/>
                  <a:gd name="connsiteX243" fmla="*/ 2126665 w 5514975"/>
                  <a:gd name="connsiteY243" fmla="*/ 2215694 h 5048250"/>
                  <a:gd name="connsiteX244" fmla="*/ 2137905 w 5514975"/>
                  <a:gd name="connsiteY244" fmla="*/ 2177498 h 5048250"/>
                  <a:gd name="connsiteX245" fmla="*/ 2172290 w 5514975"/>
                  <a:gd name="connsiteY245" fmla="*/ 2136065 h 5048250"/>
                  <a:gd name="connsiteX246" fmla="*/ 2250109 w 5514975"/>
                  <a:gd name="connsiteY246" fmla="*/ 2073866 h 5048250"/>
                  <a:gd name="connsiteX247" fmla="*/ 2258491 w 5514975"/>
                  <a:gd name="connsiteY247" fmla="*/ 2069294 h 5048250"/>
                  <a:gd name="connsiteX248" fmla="*/ 2267540 w 5514975"/>
                  <a:gd name="connsiteY248" fmla="*/ 2067865 h 5048250"/>
                  <a:gd name="connsiteX249" fmla="*/ 2278208 w 5514975"/>
                  <a:gd name="connsiteY249" fmla="*/ 2073295 h 5048250"/>
                  <a:gd name="connsiteX250" fmla="*/ 2308878 w 5514975"/>
                  <a:gd name="connsiteY250" fmla="*/ 2078248 h 5048250"/>
                  <a:gd name="connsiteX251" fmla="*/ 2373744 w 5514975"/>
                  <a:gd name="connsiteY251" fmla="*/ 2062341 h 5048250"/>
                  <a:gd name="connsiteX252" fmla="*/ 2433370 w 5514975"/>
                  <a:gd name="connsiteY252" fmla="*/ 1971663 h 5048250"/>
                  <a:gd name="connsiteX253" fmla="*/ 2438990 w 5514975"/>
                  <a:gd name="connsiteY253" fmla="*/ 1952994 h 5048250"/>
                  <a:gd name="connsiteX254" fmla="*/ 2442514 w 5514975"/>
                  <a:gd name="connsiteY254" fmla="*/ 1938516 h 5048250"/>
                  <a:gd name="connsiteX255" fmla="*/ 2416511 w 5514975"/>
                  <a:gd name="connsiteY255" fmla="*/ 1938611 h 5048250"/>
                  <a:gd name="connsiteX256" fmla="*/ 2328976 w 5514975"/>
                  <a:gd name="connsiteY256" fmla="*/ 1965948 h 5048250"/>
                  <a:gd name="connsiteX257" fmla="*/ 2276398 w 5514975"/>
                  <a:gd name="connsiteY257" fmla="*/ 2012906 h 5048250"/>
                  <a:gd name="connsiteX258" fmla="*/ 2261349 w 5514975"/>
                  <a:gd name="connsiteY258" fmla="*/ 2037385 h 5048250"/>
                  <a:gd name="connsiteX259" fmla="*/ 2256967 w 5514975"/>
                  <a:gd name="connsiteY259" fmla="*/ 2054530 h 5048250"/>
                  <a:gd name="connsiteX260" fmla="*/ 2238012 w 5514975"/>
                  <a:gd name="connsiteY260" fmla="*/ 2065675 h 5048250"/>
                  <a:gd name="connsiteX261" fmla="*/ 2202960 w 5514975"/>
                  <a:gd name="connsiteY261" fmla="*/ 2088535 h 5048250"/>
                  <a:gd name="connsiteX262" fmla="*/ 2147049 w 5514975"/>
                  <a:gd name="connsiteY262" fmla="*/ 2138255 h 5048250"/>
                  <a:gd name="connsiteX263" fmla="*/ 2154859 w 5514975"/>
                  <a:gd name="connsiteY263" fmla="*/ 2070913 h 5048250"/>
                  <a:gd name="connsiteX264" fmla="*/ 2148096 w 5514975"/>
                  <a:gd name="connsiteY264" fmla="*/ 2000238 h 5048250"/>
                  <a:gd name="connsiteX265" fmla="*/ 2127427 w 5514975"/>
                  <a:gd name="connsiteY265" fmla="*/ 1922990 h 5048250"/>
                  <a:gd name="connsiteX266" fmla="*/ 2121903 w 5514975"/>
                  <a:gd name="connsiteY266" fmla="*/ 1893844 h 5048250"/>
                  <a:gd name="connsiteX267" fmla="*/ 2131428 w 5514975"/>
                  <a:gd name="connsiteY267" fmla="*/ 1852124 h 5048250"/>
                  <a:gd name="connsiteX268" fmla="*/ 2149239 w 5514975"/>
                  <a:gd name="connsiteY268" fmla="*/ 1815072 h 5048250"/>
                  <a:gd name="connsiteX269" fmla="*/ 2168194 w 5514975"/>
                  <a:gd name="connsiteY269" fmla="*/ 1787735 h 5048250"/>
                  <a:gd name="connsiteX270" fmla="*/ 2194102 w 5514975"/>
                  <a:gd name="connsiteY270" fmla="*/ 1784497 h 5048250"/>
                  <a:gd name="connsiteX271" fmla="*/ 2293924 w 5514975"/>
                  <a:gd name="connsiteY271" fmla="*/ 1716488 h 5048250"/>
                  <a:gd name="connsiteX272" fmla="*/ 2317070 w 5514975"/>
                  <a:gd name="connsiteY272" fmla="*/ 1647527 h 5048250"/>
                  <a:gd name="connsiteX273" fmla="*/ 2320975 w 5514975"/>
                  <a:gd name="connsiteY273" fmla="*/ 1617809 h 5048250"/>
                  <a:gd name="connsiteX274" fmla="*/ 2322785 w 5514975"/>
                  <a:gd name="connsiteY274" fmla="*/ 1590187 h 5048250"/>
                  <a:gd name="connsiteX275" fmla="*/ 2313069 w 5514975"/>
                  <a:gd name="connsiteY275" fmla="*/ 1585805 h 5048250"/>
                  <a:gd name="connsiteX276" fmla="*/ 2288590 w 5514975"/>
                  <a:gd name="connsiteY276" fmla="*/ 1594378 h 5048250"/>
                  <a:gd name="connsiteX277" fmla="*/ 2187530 w 5514975"/>
                  <a:gd name="connsiteY277" fmla="*/ 1654480 h 5048250"/>
                  <a:gd name="connsiteX278" fmla="*/ 2155526 w 5514975"/>
                  <a:gd name="connsiteY278" fmla="*/ 1717250 h 5048250"/>
                  <a:gd name="connsiteX279" fmla="*/ 2153526 w 5514975"/>
                  <a:gd name="connsiteY279" fmla="*/ 1758303 h 5048250"/>
                  <a:gd name="connsiteX280" fmla="*/ 2155431 w 5514975"/>
                  <a:gd name="connsiteY280" fmla="*/ 1777543 h 5048250"/>
                  <a:gd name="connsiteX281" fmla="*/ 2145906 w 5514975"/>
                  <a:gd name="connsiteY281" fmla="*/ 1791450 h 5048250"/>
                  <a:gd name="connsiteX282" fmla="*/ 2137333 w 5514975"/>
                  <a:gd name="connsiteY282" fmla="*/ 1805928 h 5048250"/>
                  <a:gd name="connsiteX283" fmla="*/ 2127713 w 5514975"/>
                  <a:gd name="connsiteY283" fmla="*/ 1823835 h 5048250"/>
                  <a:gd name="connsiteX284" fmla="*/ 2110854 w 5514975"/>
                  <a:gd name="connsiteY284" fmla="*/ 1866126 h 5048250"/>
                  <a:gd name="connsiteX285" fmla="*/ 2106282 w 5514975"/>
                  <a:gd name="connsiteY285" fmla="*/ 1841742 h 5048250"/>
                  <a:gd name="connsiteX286" fmla="*/ 2100090 w 5514975"/>
                  <a:gd name="connsiteY286" fmla="*/ 1815929 h 5048250"/>
                  <a:gd name="connsiteX287" fmla="*/ 2089803 w 5514975"/>
                  <a:gd name="connsiteY287" fmla="*/ 1736205 h 5048250"/>
                  <a:gd name="connsiteX288" fmla="*/ 2090280 w 5514975"/>
                  <a:gd name="connsiteY288" fmla="*/ 1717250 h 5048250"/>
                  <a:gd name="connsiteX289" fmla="*/ 2099138 w 5514975"/>
                  <a:gd name="connsiteY289" fmla="*/ 1707439 h 5048250"/>
                  <a:gd name="connsiteX290" fmla="*/ 2140857 w 5514975"/>
                  <a:gd name="connsiteY290" fmla="*/ 1662291 h 5048250"/>
                  <a:gd name="connsiteX291" fmla="*/ 2134571 w 5514975"/>
                  <a:gd name="connsiteY291" fmla="*/ 1540180 h 5048250"/>
                  <a:gd name="connsiteX292" fmla="*/ 2095042 w 5514975"/>
                  <a:gd name="connsiteY292" fmla="*/ 1470172 h 5048250"/>
                  <a:gd name="connsiteX293" fmla="*/ 2088851 w 5514975"/>
                  <a:gd name="connsiteY293" fmla="*/ 1459313 h 5048250"/>
                  <a:gd name="connsiteX294" fmla="*/ 2076468 w 5514975"/>
                  <a:gd name="connsiteY294" fmla="*/ 1459313 h 5048250"/>
                  <a:gd name="connsiteX295" fmla="*/ 2050084 w 5514975"/>
                  <a:gd name="connsiteY295" fmla="*/ 1503795 h 5048250"/>
                  <a:gd name="connsiteX296" fmla="*/ 2031891 w 5514975"/>
                  <a:gd name="connsiteY296" fmla="*/ 1644574 h 5048250"/>
                  <a:gd name="connsiteX297" fmla="*/ 2055227 w 5514975"/>
                  <a:gd name="connsiteY297" fmla="*/ 1697057 h 5048250"/>
                  <a:gd name="connsiteX298" fmla="*/ 2070277 w 5514975"/>
                  <a:gd name="connsiteY298" fmla="*/ 1714488 h 5048250"/>
                  <a:gd name="connsiteX299" fmla="*/ 2073897 w 5514975"/>
                  <a:gd name="connsiteY299" fmla="*/ 1742491 h 5048250"/>
                  <a:gd name="connsiteX300" fmla="*/ 2088756 w 5514975"/>
                  <a:gd name="connsiteY300" fmla="*/ 1833836 h 5048250"/>
                  <a:gd name="connsiteX301" fmla="*/ 2109615 w 5514975"/>
                  <a:gd name="connsiteY301" fmla="*/ 1914418 h 5048250"/>
                  <a:gd name="connsiteX302" fmla="*/ 2128761 w 5514975"/>
                  <a:gd name="connsiteY302" fmla="*/ 1980140 h 5048250"/>
                  <a:gd name="connsiteX303" fmla="*/ 2103805 w 5514975"/>
                  <a:gd name="connsiteY303" fmla="*/ 1966234 h 5048250"/>
                  <a:gd name="connsiteX304" fmla="*/ 2074087 w 5514975"/>
                  <a:gd name="connsiteY304" fmla="*/ 1948803 h 5048250"/>
                  <a:gd name="connsiteX305" fmla="*/ 2051227 w 5514975"/>
                  <a:gd name="connsiteY305" fmla="*/ 1930610 h 5048250"/>
                  <a:gd name="connsiteX306" fmla="*/ 2034272 w 5514975"/>
                  <a:gd name="connsiteY306" fmla="*/ 1914322 h 5048250"/>
                  <a:gd name="connsiteX307" fmla="*/ 2016366 w 5514975"/>
                  <a:gd name="connsiteY307" fmla="*/ 1891843 h 5048250"/>
                  <a:gd name="connsiteX308" fmla="*/ 2025319 w 5514975"/>
                  <a:gd name="connsiteY308" fmla="*/ 1863459 h 5048250"/>
                  <a:gd name="connsiteX309" fmla="*/ 2027224 w 5514975"/>
                  <a:gd name="connsiteY309" fmla="*/ 1814691 h 5048250"/>
                  <a:gd name="connsiteX310" fmla="*/ 1956834 w 5514975"/>
                  <a:gd name="connsiteY310" fmla="*/ 1732966 h 5048250"/>
                  <a:gd name="connsiteX311" fmla="*/ 1884159 w 5514975"/>
                  <a:gd name="connsiteY311" fmla="*/ 1710011 h 5048250"/>
                  <a:gd name="connsiteX312" fmla="*/ 1855964 w 5514975"/>
                  <a:gd name="connsiteY312" fmla="*/ 1704963 h 5048250"/>
                  <a:gd name="connsiteX313" fmla="*/ 1850440 w 5514975"/>
                  <a:gd name="connsiteY313" fmla="*/ 1711630 h 5048250"/>
                  <a:gd name="connsiteX314" fmla="*/ 1856727 w 5514975"/>
                  <a:gd name="connsiteY314" fmla="*/ 1733443 h 5048250"/>
                  <a:gd name="connsiteX315" fmla="*/ 1875300 w 5514975"/>
                  <a:gd name="connsiteY315" fmla="*/ 1805071 h 5048250"/>
                  <a:gd name="connsiteX316" fmla="*/ 1921973 w 5514975"/>
                  <a:gd name="connsiteY316" fmla="*/ 1874127 h 5048250"/>
                  <a:gd name="connsiteX317" fmla="*/ 1973313 w 5514975"/>
                  <a:gd name="connsiteY317" fmla="*/ 1899368 h 5048250"/>
                  <a:gd name="connsiteX318" fmla="*/ 1996268 w 5514975"/>
                  <a:gd name="connsiteY318" fmla="*/ 1901559 h 5048250"/>
                  <a:gd name="connsiteX319" fmla="*/ 2007412 w 5514975"/>
                  <a:gd name="connsiteY319" fmla="*/ 1903559 h 5048250"/>
                  <a:gd name="connsiteX320" fmla="*/ 2053037 w 5514975"/>
                  <a:gd name="connsiteY320" fmla="*/ 1946326 h 5048250"/>
                  <a:gd name="connsiteX321" fmla="*/ 2006936 w 5514975"/>
                  <a:gd name="connsiteY321" fmla="*/ 1955185 h 5048250"/>
                  <a:gd name="connsiteX322" fmla="*/ 1979313 w 5514975"/>
                  <a:gd name="connsiteY322" fmla="*/ 1956232 h 5048250"/>
                  <a:gd name="connsiteX323" fmla="*/ 1910257 w 5514975"/>
                  <a:gd name="connsiteY323" fmla="*/ 1983474 h 5048250"/>
                  <a:gd name="connsiteX324" fmla="*/ 1862442 w 5514975"/>
                  <a:gd name="connsiteY324" fmla="*/ 2045767 h 5048250"/>
                  <a:gd name="connsiteX325" fmla="*/ 1836629 w 5514975"/>
                  <a:gd name="connsiteY325" fmla="*/ 2096726 h 5048250"/>
                  <a:gd name="connsiteX326" fmla="*/ 1825104 w 5514975"/>
                  <a:gd name="connsiteY326" fmla="*/ 2119777 h 5048250"/>
                  <a:gd name="connsiteX327" fmla="*/ 1833200 w 5514975"/>
                  <a:gd name="connsiteY327" fmla="*/ 2127968 h 5048250"/>
                  <a:gd name="connsiteX328" fmla="*/ 1967693 w 5514975"/>
                  <a:gd name="connsiteY328" fmla="*/ 2083391 h 5048250"/>
                  <a:gd name="connsiteX329" fmla="*/ 2012841 w 5514975"/>
                  <a:gd name="connsiteY329" fmla="*/ 2026051 h 5048250"/>
                  <a:gd name="connsiteX330" fmla="*/ 2022366 w 5514975"/>
                  <a:gd name="connsiteY330" fmla="*/ 1965757 h 5048250"/>
                  <a:gd name="connsiteX331" fmla="*/ 2059990 w 5514975"/>
                  <a:gd name="connsiteY331" fmla="*/ 1959376 h 5048250"/>
                  <a:gd name="connsiteX332" fmla="*/ 2077516 w 5514975"/>
                  <a:gd name="connsiteY332" fmla="*/ 1964805 h 5048250"/>
                  <a:gd name="connsiteX333" fmla="*/ 2089422 w 5514975"/>
                  <a:gd name="connsiteY333" fmla="*/ 1972615 h 5048250"/>
                  <a:gd name="connsiteX334" fmla="*/ 2112473 w 5514975"/>
                  <a:gd name="connsiteY334" fmla="*/ 1986141 h 5048250"/>
                  <a:gd name="connsiteX335" fmla="*/ 2131713 w 5514975"/>
                  <a:gd name="connsiteY335" fmla="*/ 1996428 h 5048250"/>
                  <a:gd name="connsiteX336" fmla="*/ 2134095 w 5514975"/>
                  <a:gd name="connsiteY336" fmla="*/ 2014906 h 5048250"/>
                  <a:gd name="connsiteX337" fmla="*/ 2136952 w 5514975"/>
                  <a:gd name="connsiteY337" fmla="*/ 2056245 h 5048250"/>
                  <a:gd name="connsiteX338" fmla="*/ 2123522 w 5514975"/>
                  <a:gd name="connsiteY338" fmla="*/ 2165402 h 5048250"/>
                  <a:gd name="connsiteX339" fmla="*/ 2069991 w 5514975"/>
                  <a:gd name="connsiteY339" fmla="*/ 2313229 h 5048250"/>
                  <a:gd name="connsiteX340" fmla="*/ 2038845 w 5514975"/>
                  <a:gd name="connsiteY340" fmla="*/ 2387906 h 5048250"/>
                  <a:gd name="connsiteX341" fmla="*/ 2025891 w 5514975"/>
                  <a:gd name="connsiteY341" fmla="*/ 2425529 h 5048250"/>
                  <a:gd name="connsiteX342" fmla="*/ 2010365 w 5514975"/>
                  <a:gd name="connsiteY342" fmla="*/ 2444770 h 5048250"/>
                  <a:gd name="connsiteX343" fmla="*/ 1988838 w 5514975"/>
                  <a:gd name="connsiteY343" fmla="*/ 2467344 h 5048250"/>
                  <a:gd name="connsiteX344" fmla="*/ 1914639 w 5514975"/>
                  <a:gd name="connsiteY344" fmla="*/ 2526018 h 5048250"/>
                  <a:gd name="connsiteX345" fmla="*/ 1849868 w 5514975"/>
                  <a:gd name="connsiteY345" fmla="*/ 2574881 h 5048250"/>
                  <a:gd name="connsiteX346" fmla="*/ 1729377 w 5514975"/>
                  <a:gd name="connsiteY346" fmla="*/ 2666036 h 5048250"/>
                  <a:gd name="connsiteX347" fmla="*/ 1690039 w 5514975"/>
                  <a:gd name="connsiteY347" fmla="*/ 2695087 h 5048250"/>
                  <a:gd name="connsiteX348" fmla="*/ 1641557 w 5514975"/>
                  <a:gd name="connsiteY348" fmla="*/ 2732711 h 5048250"/>
                  <a:gd name="connsiteX349" fmla="*/ 1597837 w 5514975"/>
                  <a:gd name="connsiteY349" fmla="*/ 2763667 h 5048250"/>
                  <a:gd name="connsiteX350" fmla="*/ 1526400 w 5514975"/>
                  <a:gd name="connsiteY350" fmla="*/ 2824627 h 5048250"/>
                  <a:gd name="connsiteX351" fmla="*/ 1470107 w 5514975"/>
                  <a:gd name="connsiteY351" fmla="*/ 2877871 h 5048250"/>
                  <a:gd name="connsiteX352" fmla="*/ 1346187 w 5514975"/>
                  <a:gd name="connsiteY352" fmla="*/ 2972169 h 5048250"/>
                  <a:gd name="connsiteX353" fmla="*/ 1248174 w 5514975"/>
                  <a:gd name="connsiteY353" fmla="*/ 3009602 h 5048250"/>
                  <a:gd name="connsiteX354" fmla="*/ 1203788 w 5514975"/>
                  <a:gd name="connsiteY354" fmla="*/ 3010936 h 5048250"/>
                  <a:gd name="connsiteX355" fmla="*/ 1189596 w 5514975"/>
                  <a:gd name="connsiteY355" fmla="*/ 3006650 h 5048250"/>
                  <a:gd name="connsiteX356" fmla="*/ 1174546 w 5514975"/>
                  <a:gd name="connsiteY356" fmla="*/ 2990362 h 5048250"/>
                  <a:gd name="connsiteX357" fmla="*/ 1129302 w 5514975"/>
                  <a:gd name="connsiteY357" fmla="*/ 2915590 h 5048250"/>
                  <a:gd name="connsiteX358" fmla="*/ 1105014 w 5514975"/>
                  <a:gd name="connsiteY358" fmla="*/ 2839867 h 5048250"/>
                  <a:gd name="connsiteX359" fmla="*/ 1087297 w 5514975"/>
                  <a:gd name="connsiteY359" fmla="*/ 2692039 h 5048250"/>
                  <a:gd name="connsiteX360" fmla="*/ 1095870 w 5514975"/>
                  <a:gd name="connsiteY360" fmla="*/ 2682800 h 5048250"/>
                  <a:gd name="connsiteX361" fmla="*/ 1120635 w 5514975"/>
                  <a:gd name="connsiteY361" fmla="*/ 2668417 h 5048250"/>
                  <a:gd name="connsiteX362" fmla="*/ 1148638 w 5514975"/>
                  <a:gd name="connsiteY362" fmla="*/ 2649653 h 5048250"/>
                  <a:gd name="connsiteX363" fmla="*/ 1196358 w 5514975"/>
                  <a:gd name="connsiteY363" fmla="*/ 2616029 h 5048250"/>
                  <a:gd name="connsiteX364" fmla="*/ 1225791 w 5514975"/>
                  <a:gd name="connsiteY364" fmla="*/ 2592693 h 5048250"/>
                  <a:gd name="connsiteX365" fmla="*/ 1246269 w 5514975"/>
                  <a:gd name="connsiteY365" fmla="*/ 2573357 h 5048250"/>
                  <a:gd name="connsiteX366" fmla="*/ 1263605 w 5514975"/>
                  <a:gd name="connsiteY366" fmla="*/ 2556688 h 5048250"/>
                  <a:gd name="connsiteX367" fmla="*/ 1299514 w 5514975"/>
                  <a:gd name="connsiteY367" fmla="*/ 2544782 h 5048250"/>
                  <a:gd name="connsiteX368" fmla="*/ 1339138 w 5514975"/>
                  <a:gd name="connsiteY368" fmla="*/ 2529733 h 5048250"/>
                  <a:gd name="connsiteX369" fmla="*/ 1418100 w 5514975"/>
                  <a:gd name="connsiteY369" fmla="*/ 2486585 h 5048250"/>
                  <a:gd name="connsiteX370" fmla="*/ 1427339 w 5514975"/>
                  <a:gd name="connsiteY370" fmla="*/ 2480774 h 5048250"/>
                  <a:gd name="connsiteX371" fmla="*/ 1438484 w 5514975"/>
                  <a:gd name="connsiteY371" fmla="*/ 2473821 h 5048250"/>
                  <a:gd name="connsiteX372" fmla="*/ 1442103 w 5514975"/>
                  <a:gd name="connsiteY372" fmla="*/ 2471154 h 5048250"/>
                  <a:gd name="connsiteX373" fmla="*/ 1447723 w 5514975"/>
                  <a:gd name="connsiteY373" fmla="*/ 2476583 h 5048250"/>
                  <a:gd name="connsiteX374" fmla="*/ 1488776 w 5514975"/>
                  <a:gd name="connsiteY374" fmla="*/ 2489728 h 5048250"/>
                  <a:gd name="connsiteX375" fmla="*/ 1627460 w 5514975"/>
                  <a:gd name="connsiteY375" fmla="*/ 2391430 h 5048250"/>
                  <a:gd name="connsiteX376" fmla="*/ 1661655 w 5514975"/>
                  <a:gd name="connsiteY376" fmla="*/ 2323898 h 5048250"/>
                  <a:gd name="connsiteX377" fmla="*/ 1670989 w 5514975"/>
                  <a:gd name="connsiteY377" fmla="*/ 2297799 h 5048250"/>
                  <a:gd name="connsiteX378" fmla="*/ 1674989 w 5514975"/>
                  <a:gd name="connsiteY378" fmla="*/ 2281702 h 5048250"/>
                  <a:gd name="connsiteX379" fmla="*/ 1665846 w 5514975"/>
                  <a:gd name="connsiteY379" fmla="*/ 2285036 h 5048250"/>
                  <a:gd name="connsiteX380" fmla="*/ 1632794 w 5514975"/>
                  <a:gd name="connsiteY380" fmla="*/ 2296656 h 5048250"/>
                  <a:gd name="connsiteX381" fmla="*/ 1598694 w 5514975"/>
                  <a:gd name="connsiteY381" fmla="*/ 2302085 h 5048250"/>
                  <a:gd name="connsiteX382" fmla="*/ 1512588 w 5514975"/>
                  <a:gd name="connsiteY382" fmla="*/ 2321421 h 5048250"/>
                  <a:gd name="connsiteX383" fmla="*/ 1455629 w 5514975"/>
                  <a:gd name="connsiteY383" fmla="*/ 2351329 h 5048250"/>
                  <a:gd name="connsiteX384" fmla="*/ 1422863 w 5514975"/>
                  <a:gd name="connsiteY384" fmla="*/ 2415909 h 5048250"/>
                  <a:gd name="connsiteX385" fmla="*/ 1430768 w 5514975"/>
                  <a:gd name="connsiteY385" fmla="*/ 2454866 h 5048250"/>
                  <a:gd name="connsiteX386" fmla="*/ 1429435 w 5514975"/>
                  <a:gd name="connsiteY386" fmla="*/ 2459724 h 5048250"/>
                  <a:gd name="connsiteX387" fmla="*/ 1423910 w 5514975"/>
                  <a:gd name="connsiteY387" fmla="*/ 2463915 h 5048250"/>
                  <a:gd name="connsiteX388" fmla="*/ 1405527 w 5514975"/>
                  <a:gd name="connsiteY388" fmla="*/ 2477726 h 5048250"/>
                  <a:gd name="connsiteX389" fmla="*/ 1349806 w 5514975"/>
                  <a:gd name="connsiteY389" fmla="*/ 2511635 h 5048250"/>
                  <a:gd name="connsiteX390" fmla="*/ 1281321 w 5514975"/>
                  <a:gd name="connsiteY390" fmla="*/ 2538115 h 5048250"/>
                  <a:gd name="connsiteX391" fmla="*/ 1384096 w 5514975"/>
                  <a:gd name="connsiteY391" fmla="*/ 2388477 h 5048250"/>
                  <a:gd name="connsiteX392" fmla="*/ 1438960 w 5514975"/>
                  <a:gd name="connsiteY392" fmla="*/ 2285607 h 5048250"/>
                  <a:gd name="connsiteX393" fmla="*/ 1483918 w 5514975"/>
                  <a:gd name="connsiteY393" fmla="*/ 2210264 h 5048250"/>
                  <a:gd name="connsiteX394" fmla="*/ 1554879 w 5514975"/>
                  <a:gd name="connsiteY394" fmla="*/ 2123873 h 5048250"/>
                  <a:gd name="connsiteX395" fmla="*/ 1564595 w 5514975"/>
                  <a:gd name="connsiteY395" fmla="*/ 2115586 h 5048250"/>
                  <a:gd name="connsiteX396" fmla="*/ 1577358 w 5514975"/>
                  <a:gd name="connsiteY396" fmla="*/ 2116538 h 5048250"/>
                  <a:gd name="connsiteX397" fmla="*/ 1611267 w 5514975"/>
                  <a:gd name="connsiteY397" fmla="*/ 2105965 h 5048250"/>
                  <a:gd name="connsiteX398" fmla="*/ 1656225 w 5514975"/>
                  <a:gd name="connsiteY398" fmla="*/ 2061579 h 5048250"/>
                  <a:gd name="connsiteX399" fmla="*/ 1684991 w 5514975"/>
                  <a:gd name="connsiteY399" fmla="*/ 1945469 h 5048250"/>
                  <a:gd name="connsiteX400" fmla="*/ 1659368 w 5514975"/>
                  <a:gd name="connsiteY400" fmla="*/ 1884795 h 5048250"/>
                  <a:gd name="connsiteX401" fmla="*/ 1649367 w 5514975"/>
                  <a:gd name="connsiteY401" fmla="*/ 1889081 h 5048250"/>
                  <a:gd name="connsiteX402" fmla="*/ 1635461 w 5514975"/>
                  <a:gd name="connsiteY402" fmla="*/ 1904512 h 5048250"/>
                  <a:gd name="connsiteX403" fmla="*/ 1555451 w 5514975"/>
                  <a:gd name="connsiteY403" fmla="*/ 1988236 h 5048250"/>
                  <a:gd name="connsiteX404" fmla="*/ 1524685 w 5514975"/>
                  <a:gd name="connsiteY404" fmla="*/ 2063484 h 5048250"/>
                  <a:gd name="connsiteX405" fmla="*/ 1546593 w 5514975"/>
                  <a:gd name="connsiteY405" fmla="*/ 2109013 h 5048250"/>
                  <a:gd name="connsiteX406" fmla="*/ 1521827 w 5514975"/>
                  <a:gd name="connsiteY406" fmla="*/ 2131778 h 5048250"/>
                  <a:gd name="connsiteX407" fmla="*/ 1483347 w 5514975"/>
                  <a:gd name="connsiteY407" fmla="*/ 2177117 h 5048250"/>
                  <a:gd name="connsiteX408" fmla="*/ 1433245 w 5514975"/>
                  <a:gd name="connsiteY408" fmla="*/ 2262175 h 5048250"/>
                  <a:gd name="connsiteX409" fmla="*/ 1353045 w 5514975"/>
                  <a:gd name="connsiteY409" fmla="*/ 2413337 h 5048250"/>
                  <a:gd name="connsiteX410" fmla="*/ 1306563 w 5514975"/>
                  <a:gd name="connsiteY410" fmla="*/ 2483727 h 5048250"/>
                  <a:gd name="connsiteX411" fmla="*/ 1319135 w 5514975"/>
                  <a:gd name="connsiteY411" fmla="*/ 2391239 h 5048250"/>
                  <a:gd name="connsiteX412" fmla="*/ 1318945 w 5514975"/>
                  <a:gd name="connsiteY412" fmla="*/ 2369617 h 5048250"/>
                  <a:gd name="connsiteX413" fmla="*/ 1324660 w 5514975"/>
                  <a:gd name="connsiteY413" fmla="*/ 2363236 h 5048250"/>
                  <a:gd name="connsiteX414" fmla="*/ 1339329 w 5514975"/>
                  <a:gd name="connsiteY414" fmla="*/ 2351996 h 5048250"/>
                  <a:gd name="connsiteX415" fmla="*/ 1368285 w 5514975"/>
                  <a:gd name="connsiteY415" fmla="*/ 2296275 h 5048250"/>
                  <a:gd name="connsiteX416" fmla="*/ 1349711 w 5514975"/>
                  <a:gd name="connsiteY416" fmla="*/ 2166259 h 5048250"/>
                  <a:gd name="connsiteX417" fmla="*/ 1323422 w 5514975"/>
                  <a:gd name="connsiteY417" fmla="*/ 2119110 h 5048250"/>
                  <a:gd name="connsiteX418" fmla="*/ 1314373 w 5514975"/>
                  <a:gd name="connsiteY418" fmla="*/ 2134160 h 5048250"/>
                  <a:gd name="connsiteX419" fmla="*/ 1301229 w 5514975"/>
                  <a:gd name="connsiteY419" fmla="*/ 2157686 h 5048250"/>
                  <a:gd name="connsiteX420" fmla="*/ 1281131 w 5514975"/>
                  <a:gd name="connsiteY420" fmla="*/ 2196929 h 5048250"/>
                  <a:gd name="connsiteX421" fmla="*/ 1252746 w 5514975"/>
                  <a:gd name="connsiteY421" fmla="*/ 2326088 h 5048250"/>
                  <a:gd name="connsiteX422" fmla="*/ 1296847 w 5514975"/>
                  <a:gd name="connsiteY422" fmla="*/ 2370189 h 5048250"/>
                  <a:gd name="connsiteX423" fmla="*/ 1304848 w 5514975"/>
                  <a:gd name="connsiteY423" fmla="*/ 2375809 h 5048250"/>
                  <a:gd name="connsiteX424" fmla="*/ 1305515 w 5514975"/>
                  <a:gd name="connsiteY424" fmla="*/ 2382857 h 5048250"/>
                  <a:gd name="connsiteX425" fmla="*/ 1306563 w 5514975"/>
                  <a:gd name="connsiteY425" fmla="*/ 2414575 h 5048250"/>
                  <a:gd name="connsiteX426" fmla="*/ 1277035 w 5514975"/>
                  <a:gd name="connsiteY426" fmla="*/ 2520684 h 5048250"/>
                  <a:gd name="connsiteX427" fmla="*/ 1252270 w 5514975"/>
                  <a:gd name="connsiteY427" fmla="*/ 2548878 h 5048250"/>
                  <a:gd name="connsiteX428" fmla="*/ 1231887 w 5514975"/>
                  <a:gd name="connsiteY428" fmla="*/ 2569166 h 5048250"/>
                  <a:gd name="connsiteX429" fmla="*/ 1200359 w 5514975"/>
                  <a:gd name="connsiteY429" fmla="*/ 2596789 h 5048250"/>
                  <a:gd name="connsiteX430" fmla="*/ 1141875 w 5514975"/>
                  <a:gd name="connsiteY430" fmla="*/ 2636413 h 5048250"/>
                  <a:gd name="connsiteX431" fmla="*/ 1085964 w 5514975"/>
                  <a:gd name="connsiteY431" fmla="*/ 2667083 h 5048250"/>
                  <a:gd name="connsiteX432" fmla="*/ 1097394 w 5514975"/>
                  <a:gd name="connsiteY432" fmla="*/ 2442198 h 5048250"/>
                  <a:gd name="connsiteX433" fmla="*/ 1119111 w 5514975"/>
                  <a:gd name="connsiteY433" fmla="*/ 2333327 h 5048250"/>
                  <a:gd name="connsiteX434" fmla="*/ 1160640 w 5514975"/>
                  <a:gd name="connsiteY434" fmla="*/ 2231124 h 5048250"/>
                  <a:gd name="connsiteX435" fmla="*/ 1211217 w 5514975"/>
                  <a:gd name="connsiteY435" fmla="*/ 2127492 h 5048250"/>
                  <a:gd name="connsiteX436" fmla="*/ 1256080 w 5514975"/>
                  <a:gd name="connsiteY436" fmla="*/ 2047863 h 5048250"/>
                  <a:gd name="connsiteX437" fmla="*/ 1436484 w 5514975"/>
                  <a:gd name="connsiteY437" fmla="*/ 1774400 h 5048250"/>
                  <a:gd name="connsiteX438" fmla="*/ 1574977 w 5514975"/>
                  <a:gd name="connsiteY438" fmla="*/ 1601045 h 5048250"/>
                  <a:gd name="connsiteX439" fmla="*/ 1764048 w 5514975"/>
                  <a:gd name="connsiteY439" fmla="*/ 1401973 h 5048250"/>
                  <a:gd name="connsiteX440" fmla="*/ 1883111 w 5514975"/>
                  <a:gd name="connsiteY440" fmla="*/ 1283863 h 5048250"/>
                  <a:gd name="connsiteX441" fmla="*/ 1941118 w 5514975"/>
                  <a:gd name="connsiteY441" fmla="*/ 1237190 h 5048250"/>
                  <a:gd name="connsiteX442" fmla="*/ 1980361 w 5514975"/>
                  <a:gd name="connsiteY442" fmla="*/ 1207853 h 5048250"/>
                  <a:gd name="connsiteX443" fmla="*/ 2013032 w 5514975"/>
                  <a:gd name="connsiteY443" fmla="*/ 1195566 h 5048250"/>
                  <a:gd name="connsiteX444" fmla="*/ 2043321 w 5514975"/>
                  <a:gd name="connsiteY444" fmla="*/ 1183469 h 5048250"/>
                  <a:gd name="connsiteX445" fmla="*/ 2136666 w 5514975"/>
                  <a:gd name="connsiteY445" fmla="*/ 1166038 h 5048250"/>
                  <a:gd name="connsiteX446" fmla="*/ 2238584 w 5514975"/>
                  <a:gd name="connsiteY446" fmla="*/ 1163657 h 5048250"/>
                  <a:gd name="connsiteX447" fmla="*/ 2272779 w 5514975"/>
                  <a:gd name="connsiteY447" fmla="*/ 1165657 h 5048250"/>
                  <a:gd name="connsiteX448" fmla="*/ 2291448 w 5514975"/>
                  <a:gd name="connsiteY448" fmla="*/ 1167943 h 5048250"/>
                  <a:gd name="connsiteX449" fmla="*/ 2300592 w 5514975"/>
                  <a:gd name="connsiteY449" fmla="*/ 1181659 h 5048250"/>
                  <a:gd name="connsiteX450" fmla="*/ 2319451 w 5514975"/>
                  <a:gd name="connsiteY450" fmla="*/ 1218331 h 5048250"/>
                  <a:gd name="connsiteX451" fmla="*/ 2328214 w 5514975"/>
                  <a:gd name="connsiteY451" fmla="*/ 1238714 h 5048250"/>
                  <a:gd name="connsiteX452" fmla="*/ 2328500 w 5514975"/>
                  <a:gd name="connsiteY452" fmla="*/ 1246906 h 5048250"/>
                  <a:gd name="connsiteX453" fmla="*/ 2319070 w 5514975"/>
                  <a:gd name="connsiteY453" fmla="*/ 1252525 h 5048250"/>
                  <a:gd name="connsiteX454" fmla="*/ 2291352 w 5514975"/>
                  <a:gd name="connsiteY454" fmla="*/ 1332345 h 5048250"/>
                  <a:gd name="connsiteX455" fmla="*/ 2332691 w 5514975"/>
                  <a:gd name="connsiteY455" fmla="*/ 1419880 h 5048250"/>
                  <a:gd name="connsiteX456" fmla="*/ 2356218 w 5514975"/>
                  <a:gd name="connsiteY456" fmla="*/ 1454265 h 5048250"/>
                  <a:gd name="connsiteX457" fmla="*/ 2378220 w 5514975"/>
                  <a:gd name="connsiteY457" fmla="*/ 1474267 h 5048250"/>
                  <a:gd name="connsiteX458" fmla="*/ 2385364 w 5514975"/>
                  <a:gd name="connsiteY458" fmla="*/ 1461218 h 5048250"/>
                  <a:gd name="connsiteX459" fmla="*/ 2394127 w 5514975"/>
                  <a:gd name="connsiteY459" fmla="*/ 1445502 h 5048250"/>
                  <a:gd name="connsiteX460" fmla="*/ 2410986 w 5514975"/>
                  <a:gd name="connsiteY460" fmla="*/ 1406640 h 5048250"/>
                  <a:gd name="connsiteX461" fmla="*/ 2421940 w 5514975"/>
                  <a:gd name="connsiteY461" fmla="*/ 1315867 h 5048250"/>
                  <a:gd name="connsiteX462" fmla="*/ 2388317 w 5514975"/>
                  <a:gd name="connsiteY462" fmla="*/ 1253668 h 5048250"/>
                  <a:gd name="connsiteX463" fmla="*/ 2356599 w 5514975"/>
                  <a:gd name="connsiteY463" fmla="*/ 1240143 h 5048250"/>
                  <a:gd name="connsiteX464" fmla="*/ 2342406 w 5514975"/>
                  <a:gd name="connsiteY464" fmla="*/ 1240619 h 5048250"/>
                  <a:gd name="connsiteX465" fmla="*/ 2335072 w 5514975"/>
                  <a:gd name="connsiteY465" fmla="*/ 1236904 h 5048250"/>
                  <a:gd name="connsiteX466" fmla="*/ 2329738 w 5514975"/>
                  <a:gd name="connsiteY466" fmla="*/ 1224808 h 5048250"/>
                  <a:gd name="connsiteX467" fmla="*/ 2311450 w 5514975"/>
                  <a:gd name="connsiteY467" fmla="*/ 1189660 h 5048250"/>
                  <a:gd name="connsiteX468" fmla="*/ 2298687 w 5514975"/>
                  <a:gd name="connsiteY468" fmla="*/ 1167562 h 5048250"/>
                  <a:gd name="connsiteX469" fmla="*/ 2323928 w 5514975"/>
                  <a:gd name="connsiteY469" fmla="*/ 1171277 h 5048250"/>
                  <a:gd name="connsiteX470" fmla="*/ 2365552 w 5514975"/>
                  <a:gd name="connsiteY470" fmla="*/ 1178421 h 5048250"/>
                  <a:gd name="connsiteX471" fmla="*/ 2427465 w 5514975"/>
                  <a:gd name="connsiteY471" fmla="*/ 1194423 h 5048250"/>
                  <a:gd name="connsiteX472" fmla="*/ 2436132 w 5514975"/>
                  <a:gd name="connsiteY472" fmla="*/ 1197185 h 5048250"/>
                  <a:gd name="connsiteX473" fmla="*/ 2440704 w 5514975"/>
                  <a:gd name="connsiteY473" fmla="*/ 1202233 h 5048250"/>
                  <a:gd name="connsiteX474" fmla="*/ 2455468 w 5514975"/>
                  <a:gd name="connsiteY474" fmla="*/ 1221760 h 5048250"/>
                  <a:gd name="connsiteX475" fmla="*/ 2506522 w 5514975"/>
                  <a:gd name="connsiteY475" fmla="*/ 1261003 h 5048250"/>
                  <a:gd name="connsiteX476" fmla="*/ 2547575 w 5514975"/>
                  <a:gd name="connsiteY476" fmla="*/ 1276814 h 5048250"/>
                  <a:gd name="connsiteX477" fmla="*/ 2596152 w 5514975"/>
                  <a:gd name="connsiteY477" fmla="*/ 1282910 h 5048250"/>
                  <a:gd name="connsiteX478" fmla="*/ 2653683 w 5514975"/>
                  <a:gd name="connsiteY478" fmla="*/ 1279672 h 5048250"/>
                  <a:gd name="connsiteX479" fmla="*/ 2685306 w 5514975"/>
                  <a:gd name="connsiteY479" fmla="*/ 1271575 h 5048250"/>
                  <a:gd name="connsiteX480" fmla="*/ 2674733 w 5514975"/>
                  <a:gd name="connsiteY480" fmla="*/ 1253192 h 5048250"/>
                  <a:gd name="connsiteX481" fmla="*/ 2632538 w 5514975"/>
                  <a:gd name="connsiteY481" fmla="*/ 1210044 h 5048250"/>
                  <a:gd name="connsiteX482" fmla="*/ 2574626 w 5514975"/>
                  <a:gd name="connsiteY482" fmla="*/ 1172611 h 5048250"/>
                  <a:gd name="connsiteX483" fmla="*/ 2520143 w 5514975"/>
                  <a:gd name="connsiteY483" fmla="*/ 1161085 h 5048250"/>
                  <a:gd name="connsiteX484" fmla="*/ 2459849 w 5514975"/>
                  <a:gd name="connsiteY484" fmla="*/ 1181755 h 5048250"/>
                  <a:gd name="connsiteX485" fmla="*/ 2446324 w 5514975"/>
                  <a:gd name="connsiteY485" fmla="*/ 1190422 h 5048250"/>
                  <a:gd name="connsiteX486" fmla="*/ 2430798 w 5514975"/>
                  <a:gd name="connsiteY486" fmla="*/ 1185184 h 5048250"/>
                  <a:gd name="connsiteX487" fmla="*/ 2393270 w 5514975"/>
                  <a:gd name="connsiteY487" fmla="*/ 1174135 h 5048250"/>
                  <a:gd name="connsiteX488" fmla="*/ 2318689 w 5514975"/>
                  <a:gd name="connsiteY488" fmla="*/ 1158895 h 5048250"/>
                  <a:gd name="connsiteX489" fmla="*/ 2216391 w 5514975"/>
                  <a:gd name="connsiteY489" fmla="*/ 1146607 h 5048250"/>
                  <a:gd name="connsiteX490" fmla="*/ 2125903 w 5514975"/>
                  <a:gd name="connsiteY490" fmla="*/ 1144702 h 5048250"/>
                  <a:gd name="connsiteX491" fmla="*/ 2060752 w 5514975"/>
                  <a:gd name="connsiteY491" fmla="*/ 1151846 h 5048250"/>
                  <a:gd name="connsiteX492" fmla="*/ 2247633 w 5514975"/>
                  <a:gd name="connsiteY492" fmla="*/ 1059073 h 5048250"/>
                  <a:gd name="connsiteX493" fmla="*/ 2313355 w 5514975"/>
                  <a:gd name="connsiteY493" fmla="*/ 1028878 h 5048250"/>
                  <a:gd name="connsiteX494" fmla="*/ 2387555 w 5514975"/>
                  <a:gd name="connsiteY494" fmla="*/ 1002113 h 5048250"/>
                  <a:gd name="connsiteX495" fmla="*/ 2514237 w 5514975"/>
                  <a:gd name="connsiteY495" fmla="*/ 965061 h 5048250"/>
                  <a:gd name="connsiteX496" fmla="*/ 2673686 w 5514975"/>
                  <a:gd name="connsiteY496" fmla="*/ 940296 h 5048250"/>
                  <a:gd name="connsiteX497" fmla="*/ 2841707 w 5514975"/>
                  <a:gd name="connsiteY497" fmla="*/ 942010 h 5048250"/>
                  <a:gd name="connsiteX498" fmla="*/ 2933718 w 5514975"/>
                  <a:gd name="connsiteY498" fmla="*/ 948678 h 5048250"/>
                  <a:gd name="connsiteX499" fmla="*/ 2962865 w 5514975"/>
                  <a:gd name="connsiteY499" fmla="*/ 950488 h 5048250"/>
                  <a:gd name="connsiteX500" fmla="*/ 2989725 w 5514975"/>
                  <a:gd name="connsiteY500" fmla="*/ 951726 h 5048250"/>
                  <a:gd name="connsiteX501" fmla="*/ 3026778 w 5514975"/>
                  <a:gd name="connsiteY501" fmla="*/ 954583 h 5048250"/>
                  <a:gd name="connsiteX502" fmla="*/ 3050019 w 5514975"/>
                  <a:gd name="connsiteY502" fmla="*/ 972490 h 5048250"/>
                  <a:gd name="connsiteX503" fmla="*/ 3071259 w 5514975"/>
                  <a:gd name="connsiteY503" fmla="*/ 996874 h 5048250"/>
                  <a:gd name="connsiteX504" fmla="*/ 3110312 w 5514975"/>
                  <a:gd name="connsiteY504" fmla="*/ 1053167 h 5048250"/>
                  <a:gd name="connsiteX505" fmla="*/ 3124028 w 5514975"/>
                  <a:gd name="connsiteY505" fmla="*/ 1078408 h 5048250"/>
                  <a:gd name="connsiteX506" fmla="*/ 3121932 w 5514975"/>
                  <a:gd name="connsiteY506" fmla="*/ 1086505 h 5048250"/>
                  <a:gd name="connsiteX507" fmla="*/ 3118408 w 5514975"/>
                  <a:gd name="connsiteY507" fmla="*/ 1094315 h 5048250"/>
                  <a:gd name="connsiteX508" fmla="*/ 3104025 w 5514975"/>
                  <a:gd name="connsiteY508" fmla="*/ 1152799 h 5048250"/>
                  <a:gd name="connsiteX509" fmla="*/ 3150603 w 5514975"/>
                  <a:gd name="connsiteY509" fmla="*/ 1263384 h 5048250"/>
                  <a:gd name="connsiteX510" fmla="*/ 3243566 w 5514975"/>
                  <a:gd name="connsiteY510" fmla="*/ 1306913 h 5048250"/>
                  <a:gd name="connsiteX511" fmla="*/ 3297002 w 5514975"/>
                  <a:gd name="connsiteY511" fmla="*/ 1311390 h 5048250"/>
                  <a:gd name="connsiteX512" fmla="*/ 3304050 w 5514975"/>
                  <a:gd name="connsiteY512" fmla="*/ 1304818 h 5048250"/>
                  <a:gd name="connsiteX513" fmla="*/ 3297859 w 5514975"/>
                  <a:gd name="connsiteY513" fmla="*/ 1280815 h 5048250"/>
                  <a:gd name="connsiteX514" fmla="*/ 3257092 w 5514975"/>
                  <a:gd name="connsiteY514" fmla="*/ 1182707 h 5048250"/>
                  <a:gd name="connsiteX515" fmla="*/ 3218611 w 5514975"/>
                  <a:gd name="connsiteY515" fmla="*/ 1128034 h 5048250"/>
                  <a:gd name="connsiteX516" fmla="*/ 3168414 w 5514975"/>
                  <a:gd name="connsiteY516" fmla="*/ 1087076 h 5048250"/>
                  <a:gd name="connsiteX517" fmla="*/ 3141935 w 5514975"/>
                  <a:gd name="connsiteY517" fmla="*/ 1078885 h 5048250"/>
                  <a:gd name="connsiteX518" fmla="*/ 3132791 w 5514975"/>
                  <a:gd name="connsiteY518" fmla="*/ 1075646 h 5048250"/>
                  <a:gd name="connsiteX519" fmla="*/ 3124409 w 5514975"/>
                  <a:gd name="connsiteY519" fmla="*/ 1060597 h 5048250"/>
                  <a:gd name="connsiteX520" fmla="*/ 3086595 w 5514975"/>
                  <a:gd name="connsiteY520" fmla="*/ 1002304 h 5048250"/>
                  <a:gd name="connsiteX521" fmla="*/ 3045637 w 5514975"/>
                  <a:gd name="connsiteY521" fmla="*/ 956203 h 5048250"/>
                  <a:gd name="connsiteX522" fmla="*/ 3148983 w 5514975"/>
                  <a:gd name="connsiteY522" fmla="*/ 964870 h 5048250"/>
                  <a:gd name="connsiteX523" fmla="*/ 3161747 w 5514975"/>
                  <a:gd name="connsiteY523" fmla="*/ 966013 h 5048250"/>
                  <a:gd name="connsiteX524" fmla="*/ 3177844 w 5514975"/>
                  <a:gd name="connsiteY524" fmla="*/ 981539 h 5048250"/>
                  <a:gd name="connsiteX525" fmla="*/ 3232518 w 5514975"/>
                  <a:gd name="connsiteY525" fmla="*/ 1034308 h 5048250"/>
                  <a:gd name="connsiteX526" fmla="*/ 3291763 w 5514975"/>
                  <a:gd name="connsiteY526" fmla="*/ 1071169 h 5048250"/>
                  <a:gd name="connsiteX527" fmla="*/ 3323672 w 5514975"/>
                  <a:gd name="connsiteY527" fmla="*/ 1085647 h 5048250"/>
                  <a:gd name="connsiteX528" fmla="*/ 3340341 w 5514975"/>
                  <a:gd name="connsiteY528" fmla="*/ 1091362 h 5048250"/>
                  <a:gd name="connsiteX529" fmla="*/ 3346437 w 5514975"/>
                  <a:gd name="connsiteY529" fmla="*/ 1102316 h 5048250"/>
                  <a:gd name="connsiteX530" fmla="*/ 3402824 w 5514975"/>
                  <a:gd name="connsiteY530" fmla="*/ 1201281 h 5048250"/>
                  <a:gd name="connsiteX531" fmla="*/ 3453783 w 5514975"/>
                  <a:gd name="connsiteY531" fmla="*/ 1230904 h 5048250"/>
                  <a:gd name="connsiteX532" fmla="*/ 3519601 w 5514975"/>
                  <a:gd name="connsiteY532" fmla="*/ 1246715 h 5048250"/>
                  <a:gd name="connsiteX533" fmla="*/ 3609517 w 5514975"/>
                  <a:gd name="connsiteY533" fmla="*/ 1241476 h 5048250"/>
                  <a:gd name="connsiteX534" fmla="*/ 3626948 w 5514975"/>
                  <a:gd name="connsiteY534" fmla="*/ 1237666 h 5048250"/>
                  <a:gd name="connsiteX535" fmla="*/ 3646283 w 5514975"/>
                  <a:gd name="connsiteY535" fmla="*/ 1235761 h 5048250"/>
                  <a:gd name="connsiteX536" fmla="*/ 3645998 w 5514975"/>
                  <a:gd name="connsiteY536" fmla="*/ 1226332 h 5048250"/>
                  <a:gd name="connsiteX537" fmla="*/ 3630853 w 5514975"/>
                  <a:gd name="connsiteY537" fmla="*/ 1203567 h 5048250"/>
                  <a:gd name="connsiteX538" fmla="*/ 3561225 w 5514975"/>
                  <a:gd name="connsiteY538" fmla="*/ 1112508 h 5048250"/>
                  <a:gd name="connsiteX539" fmla="*/ 3426447 w 5514975"/>
                  <a:gd name="connsiteY539" fmla="*/ 1052215 h 5048250"/>
                  <a:gd name="connsiteX540" fmla="*/ 3369582 w 5514975"/>
                  <a:gd name="connsiteY540" fmla="*/ 1070503 h 5048250"/>
                  <a:gd name="connsiteX541" fmla="*/ 3352628 w 5514975"/>
                  <a:gd name="connsiteY541" fmla="*/ 1080313 h 5048250"/>
                  <a:gd name="connsiteX542" fmla="*/ 3342531 w 5514975"/>
                  <a:gd name="connsiteY542" fmla="*/ 1081933 h 5048250"/>
                  <a:gd name="connsiteX543" fmla="*/ 3323958 w 5514975"/>
                  <a:gd name="connsiteY543" fmla="*/ 1075837 h 5048250"/>
                  <a:gd name="connsiteX544" fmla="*/ 3297764 w 5514975"/>
                  <a:gd name="connsiteY544" fmla="*/ 1063740 h 5048250"/>
                  <a:gd name="connsiteX545" fmla="*/ 3236423 w 5514975"/>
                  <a:gd name="connsiteY545" fmla="*/ 1023068 h 5048250"/>
                  <a:gd name="connsiteX546" fmla="*/ 3181368 w 5514975"/>
                  <a:gd name="connsiteY546" fmla="*/ 967347 h 5048250"/>
                  <a:gd name="connsiteX547" fmla="*/ 3304146 w 5514975"/>
                  <a:gd name="connsiteY547" fmla="*/ 975062 h 5048250"/>
                  <a:gd name="connsiteX548" fmla="*/ 3375964 w 5514975"/>
                  <a:gd name="connsiteY548" fmla="*/ 980396 h 5048250"/>
                  <a:gd name="connsiteX549" fmla="*/ 3472929 w 5514975"/>
                  <a:gd name="connsiteY549" fmla="*/ 984206 h 5048250"/>
                  <a:gd name="connsiteX550" fmla="*/ 3557320 w 5514975"/>
                  <a:gd name="connsiteY550" fmla="*/ 982206 h 5048250"/>
                  <a:gd name="connsiteX551" fmla="*/ 3715245 w 5514975"/>
                  <a:gd name="connsiteY551" fmla="*/ 967442 h 5048250"/>
                  <a:gd name="connsiteX552" fmla="*/ 3885837 w 5514975"/>
                  <a:gd name="connsiteY552" fmla="*/ 942487 h 5048250"/>
                  <a:gd name="connsiteX553" fmla="*/ 4035570 w 5514975"/>
                  <a:gd name="connsiteY553" fmla="*/ 909244 h 5048250"/>
                  <a:gd name="connsiteX554" fmla="*/ 4181779 w 5514975"/>
                  <a:gd name="connsiteY554" fmla="*/ 865715 h 5048250"/>
                  <a:gd name="connsiteX555" fmla="*/ 4241882 w 5514975"/>
                  <a:gd name="connsiteY555" fmla="*/ 845141 h 5048250"/>
                  <a:gd name="connsiteX556" fmla="*/ 4253217 w 5514975"/>
                  <a:gd name="connsiteY556" fmla="*/ 845998 h 5048250"/>
                  <a:gd name="connsiteX557" fmla="*/ 4275981 w 5514975"/>
                  <a:gd name="connsiteY557" fmla="*/ 867144 h 5048250"/>
                  <a:gd name="connsiteX558" fmla="*/ 4291888 w 5514975"/>
                  <a:gd name="connsiteY558" fmla="*/ 889432 h 5048250"/>
                  <a:gd name="connsiteX559" fmla="*/ 4290459 w 5514975"/>
                  <a:gd name="connsiteY559" fmla="*/ 899053 h 5048250"/>
                  <a:gd name="connsiteX560" fmla="*/ 4289793 w 5514975"/>
                  <a:gd name="connsiteY560" fmla="*/ 916864 h 5048250"/>
                  <a:gd name="connsiteX561" fmla="*/ 4317130 w 5514975"/>
                  <a:gd name="connsiteY561" fmla="*/ 1023735 h 5048250"/>
                  <a:gd name="connsiteX562" fmla="*/ 4381518 w 5514975"/>
                  <a:gd name="connsiteY562" fmla="*/ 1065264 h 5048250"/>
                  <a:gd name="connsiteX563" fmla="*/ 4412665 w 5514975"/>
                  <a:gd name="connsiteY563" fmla="*/ 1070788 h 5048250"/>
                  <a:gd name="connsiteX564" fmla="*/ 4429906 w 5514975"/>
                  <a:gd name="connsiteY564" fmla="*/ 1072312 h 5048250"/>
                  <a:gd name="connsiteX565" fmla="*/ 4453147 w 5514975"/>
                  <a:gd name="connsiteY565" fmla="*/ 1076408 h 5048250"/>
                  <a:gd name="connsiteX566" fmla="*/ 4456575 w 5514975"/>
                  <a:gd name="connsiteY566" fmla="*/ 1066978 h 5048250"/>
                  <a:gd name="connsiteX567" fmla="*/ 4449337 w 5514975"/>
                  <a:gd name="connsiteY567" fmla="*/ 1040023 h 5048250"/>
                  <a:gd name="connsiteX568" fmla="*/ 4437906 w 5514975"/>
                  <a:gd name="connsiteY568" fmla="*/ 1003732 h 5048250"/>
                  <a:gd name="connsiteX569" fmla="*/ 4394187 w 5514975"/>
                  <a:gd name="connsiteY569" fmla="*/ 914674 h 5048250"/>
                  <a:gd name="connsiteX570" fmla="*/ 4351991 w 5514975"/>
                  <a:gd name="connsiteY570" fmla="*/ 881717 h 5048250"/>
                  <a:gd name="connsiteX571" fmla="*/ 4324749 w 5514975"/>
                  <a:gd name="connsiteY571" fmla="*/ 875526 h 5048250"/>
                  <a:gd name="connsiteX572" fmla="*/ 4311700 w 5514975"/>
                  <a:gd name="connsiteY572" fmla="*/ 875907 h 5048250"/>
                  <a:gd name="connsiteX573" fmla="*/ 4298937 w 5514975"/>
                  <a:gd name="connsiteY573" fmla="*/ 876574 h 5048250"/>
                  <a:gd name="connsiteX574" fmla="*/ 4280649 w 5514975"/>
                  <a:gd name="connsiteY574" fmla="*/ 857047 h 5048250"/>
                  <a:gd name="connsiteX575" fmla="*/ 4260837 w 5514975"/>
                  <a:gd name="connsiteY575" fmla="*/ 837807 h 5048250"/>
                  <a:gd name="connsiteX576" fmla="*/ 4349991 w 5514975"/>
                  <a:gd name="connsiteY576" fmla="*/ 805041 h 5048250"/>
                  <a:gd name="connsiteX577" fmla="*/ 4369231 w 5514975"/>
                  <a:gd name="connsiteY577" fmla="*/ 797802 h 5048250"/>
                  <a:gd name="connsiteX578" fmla="*/ 4381042 w 5514975"/>
                  <a:gd name="connsiteY578" fmla="*/ 793325 h 5048250"/>
                  <a:gd name="connsiteX579" fmla="*/ 4394091 w 5514975"/>
                  <a:gd name="connsiteY579" fmla="*/ 788086 h 5048250"/>
                  <a:gd name="connsiteX580" fmla="*/ 4404474 w 5514975"/>
                  <a:gd name="connsiteY580" fmla="*/ 792849 h 5048250"/>
                  <a:gd name="connsiteX581" fmla="*/ 4456480 w 5514975"/>
                  <a:gd name="connsiteY581" fmla="*/ 808184 h 5048250"/>
                  <a:gd name="connsiteX582" fmla="*/ 4484484 w 5514975"/>
                  <a:gd name="connsiteY582" fmla="*/ 814090 h 5048250"/>
                  <a:gd name="connsiteX583" fmla="*/ 4498390 w 5514975"/>
                  <a:gd name="connsiteY583" fmla="*/ 817042 h 5048250"/>
                  <a:gd name="connsiteX584" fmla="*/ 4505058 w 5514975"/>
                  <a:gd name="connsiteY584" fmla="*/ 828949 h 5048250"/>
                  <a:gd name="connsiteX585" fmla="*/ 4564684 w 5514975"/>
                  <a:gd name="connsiteY585" fmla="*/ 869525 h 5048250"/>
                  <a:gd name="connsiteX586" fmla="*/ 4647647 w 5514975"/>
                  <a:gd name="connsiteY586" fmla="*/ 874764 h 5048250"/>
                  <a:gd name="connsiteX587" fmla="*/ 4730038 w 5514975"/>
                  <a:gd name="connsiteY587" fmla="*/ 812566 h 5048250"/>
                  <a:gd name="connsiteX588" fmla="*/ 4738515 w 5514975"/>
                  <a:gd name="connsiteY588" fmla="*/ 794659 h 5048250"/>
                  <a:gd name="connsiteX589" fmla="*/ 4734896 w 5514975"/>
                  <a:gd name="connsiteY589" fmla="*/ 783610 h 5048250"/>
                  <a:gd name="connsiteX590" fmla="*/ 4696129 w 5514975"/>
                  <a:gd name="connsiteY590" fmla="*/ 768560 h 5048250"/>
                  <a:gd name="connsiteX591" fmla="*/ 4608404 w 5514975"/>
                  <a:gd name="connsiteY591" fmla="*/ 745319 h 5048250"/>
                  <a:gd name="connsiteX592" fmla="*/ 4508773 w 5514975"/>
                  <a:gd name="connsiteY592" fmla="*/ 786943 h 5048250"/>
                  <a:gd name="connsiteX593" fmla="*/ 4499343 w 5514975"/>
                  <a:gd name="connsiteY593" fmla="*/ 801707 h 5048250"/>
                  <a:gd name="connsiteX594" fmla="*/ 4496199 w 5514975"/>
                  <a:gd name="connsiteY594" fmla="*/ 804660 h 5048250"/>
                  <a:gd name="connsiteX595" fmla="*/ 4487913 w 5514975"/>
                  <a:gd name="connsiteY595" fmla="*/ 803136 h 5048250"/>
                  <a:gd name="connsiteX596" fmla="*/ 4473721 w 5514975"/>
                  <a:gd name="connsiteY596" fmla="*/ 799993 h 5048250"/>
                  <a:gd name="connsiteX597" fmla="*/ 4408855 w 5514975"/>
                  <a:gd name="connsiteY597" fmla="*/ 781990 h 5048250"/>
                  <a:gd name="connsiteX598" fmla="*/ 4578496 w 5514975"/>
                  <a:gd name="connsiteY598" fmla="*/ 703600 h 5048250"/>
                  <a:gd name="connsiteX599" fmla="*/ 4606213 w 5514975"/>
                  <a:gd name="connsiteY599" fmla="*/ 690265 h 5048250"/>
                  <a:gd name="connsiteX600" fmla="*/ 4623454 w 5514975"/>
                  <a:gd name="connsiteY600" fmla="*/ 681978 h 5048250"/>
                  <a:gd name="connsiteX601" fmla="*/ 4638027 w 5514975"/>
                  <a:gd name="connsiteY601" fmla="*/ 675406 h 5048250"/>
                  <a:gd name="connsiteX602" fmla="*/ 4647075 w 5514975"/>
                  <a:gd name="connsiteY602" fmla="*/ 673786 h 5048250"/>
                  <a:gd name="connsiteX603" fmla="*/ 4660125 w 5514975"/>
                  <a:gd name="connsiteY603" fmla="*/ 676453 h 5048250"/>
                  <a:gd name="connsiteX604" fmla="*/ 4792237 w 5514975"/>
                  <a:gd name="connsiteY604" fmla="*/ 651212 h 5048250"/>
                  <a:gd name="connsiteX605" fmla="*/ 4869294 w 5514975"/>
                  <a:gd name="connsiteY605" fmla="*/ 551104 h 5048250"/>
                  <a:gd name="connsiteX606" fmla="*/ 4884819 w 5514975"/>
                  <a:gd name="connsiteY606" fmla="*/ 496336 h 5048250"/>
                  <a:gd name="connsiteX607" fmla="*/ 4871675 w 5514975"/>
                  <a:gd name="connsiteY607" fmla="*/ 490144 h 5048250"/>
                  <a:gd name="connsiteX608" fmla="*/ 4832337 w 5514975"/>
                  <a:gd name="connsiteY608" fmla="*/ 497764 h 5048250"/>
                  <a:gd name="connsiteX609" fmla="*/ 4700415 w 5514975"/>
                  <a:gd name="connsiteY609" fmla="*/ 549961 h 5048250"/>
                  <a:gd name="connsiteX610" fmla="*/ 4651266 w 5514975"/>
                  <a:gd name="connsiteY610" fmla="*/ 605968 h 5048250"/>
                  <a:gd name="connsiteX611" fmla="*/ 4633836 w 5514975"/>
                  <a:gd name="connsiteY611" fmla="*/ 649307 h 5048250"/>
                  <a:gd name="connsiteX612" fmla="*/ 4629359 w 5514975"/>
                  <a:gd name="connsiteY612" fmla="*/ 656641 h 5048250"/>
                  <a:gd name="connsiteX613" fmla="*/ 4620977 w 5514975"/>
                  <a:gd name="connsiteY613" fmla="*/ 660261 h 5048250"/>
                  <a:gd name="connsiteX614" fmla="*/ 4590116 w 5514975"/>
                  <a:gd name="connsiteY614" fmla="*/ 672643 h 5048250"/>
                  <a:gd name="connsiteX615" fmla="*/ 4543729 w 5514975"/>
                  <a:gd name="connsiteY615" fmla="*/ 692074 h 5048250"/>
                  <a:gd name="connsiteX616" fmla="*/ 4427429 w 5514975"/>
                  <a:gd name="connsiteY616" fmla="*/ 740557 h 5048250"/>
                  <a:gd name="connsiteX617" fmla="*/ 4450765 w 5514975"/>
                  <a:gd name="connsiteY617" fmla="*/ 711791 h 5048250"/>
                  <a:gd name="connsiteX618" fmla="*/ 4472292 w 5514975"/>
                  <a:gd name="connsiteY618" fmla="*/ 689788 h 5048250"/>
                  <a:gd name="connsiteX619" fmla="*/ 4502581 w 5514975"/>
                  <a:gd name="connsiteY619" fmla="*/ 673977 h 5048250"/>
                  <a:gd name="connsiteX620" fmla="*/ 4537443 w 5514975"/>
                  <a:gd name="connsiteY620" fmla="*/ 648259 h 5048250"/>
                  <a:gd name="connsiteX621" fmla="*/ 4575257 w 5514975"/>
                  <a:gd name="connsiteY621" fmla="*/ 574536 h 5048250"/>
                  <a:gd name="connsiteX622" fmla="*/ 4579924 w 5514975"/>
                  <a:gd name="connsiteY622" fmla="*/ 534531 h 5048250"/>
                  <a:gd name="connsiteX623" fmla="*/ 4579067 w 5514975"/>
                  <a:gd name="connsiteY623" fmla="*/ 512814 h 5048250"/>
                  <a:gd name="connsiteX624" fmla="*/ 4575924 w 5514975"/>
                  <a:gd name="connsiteY624" fmla="*/ 497479 h 5048250"/>
                  <a:gd name="connsiteX625" fmla="*/ 4552492 w 5514975"/>
                  <a:gd name="connsiteY625" fmla="*/ 503860 h 5048250"/>
                  <a:gd name="connsiteX626" fmla="*/ 4523155 w 5514975"/>
                  <a:gd name="connsiteY626" fmla="*/ 517386 h 5048250"/>
                  <a:gd name="connsiteX627" fmla="*/ 4472006 w 5514975"/>
                  <a:gd name="connsiteY627" fmla="*/ 561772 h 5048250"/>
                  <a:gd name="connsiteX628" fmla="*/ 4453432 w 5514975"/>
                  <a:gd name="connsiteY628" fmla="*/ 633210 h 5048250"/>
                  <a:gd name="connsiteX629" fmla="*/ 4457528 w 5514975"/>
                  <a:gd name="connsiteY629" fmla="*/ 668262 h 5048250"/>
                  <a:gd name="connsiteX630" fmla="*/ 4456385 w 5514975"/>
                  <a:gd name="connsiteY630" fmla="*/ 683026 h 5048250"/>
                  <a:gd name="connsiteX631" fmla="*/ 4425333 w 5514975"/>
                  <a:gd name="connsiteY631" fmla="*/ 721792 h 5048250"/>
                  <a:gd name="connsiteX632" fmla="*/ 4401235 w 5514975"/>
                  <a:gd name="connsiteY632" fmla="*/ 750082 h 5048250"/>
                  <a:gd name="connsiteX633" fmla="*/ 4377232 w 5514975"/>
                  <a:gd name="connsiteY633" fmla="*/ 759607 h 5048250"/>
                  <a:gd name="connsiteX634" fmla="*/ 4311319 w 5514975"/>
                  <a:gd name="connsiteY634" fmla="*/ 786277 h 5048250"/>
                  <a:gd name="connsiteX635" fmla="*/ 4082910 w 5514975"/>
                  <a:gd name="connsiteY635" fmla="*/ 862381 h 5048250"/>
                  <a:gd name="connsiteX636" fmla="*/ 3871169 w 5514975"/>
                  <a:gd name="connsiteY636" fmla="*/ 916579 h 5048250"/>
                  <a:gd name="connsiteX637" fmla="*/ 3947750 w 5514975"/>
                  <a:gd name="connsiteY637" fmla="*/ 849999 h 5048250"/>
                  <a:gd name="connsiteX638" fmla="*/ 3978039 w 5514975"/>
                  <a:gd name="connsiteY638" fmla="*/ 813518 h 5048250"/>
                  <a:gd name="connsiteX639" fmla="*/ 3994041 w 5514975"/>
                  <a:gd name="connsiteY639" fmla="*/ 797897 h 5048250"/>
                  <a:gd name="connsiteX640" fmla="*/ 4008996 w 5514975"/>
                  <a:gd name="connsiteY640" fmla="*/ 796754 h 5048250"/>
                  <a:gd name="connsiteX641" fmla="*/ 4085577 w 5514975"/>
                  <a:gd name="connsiteY641" fmla="*/ 748462 h 5048250"/>
                  <a:gd name="connsiteX642" fmla="*/ 4112628 w 5514975"/>
                  <a:gd name="connsiteY642" fmla="*/ 659975 h 5048250"/>
                  <a:gd name="connsiteX643" fmla="*/ 4106913 w 5514975"/>
                  <a:gd name="connsiteY643" fmla="*/ 587966 h 5048250"/>
                  <a:gd name="connsiteX644" fmla="*/ 4100531 w 5514975"/>
                  <a:gd name="connsiteY644" fmla="*/ 561296 h 5048250"/>
                  <a:gd name="connsiteX645" fmla="*/ 4083195 w 5514975"/>
                  <a:gd name="connsiteY645" fmla="*/ 574060 h 5048250"/>
                  <a:gd name="connsiteX646" fmla="*/ 4031570 w 5514975"/>
                  <a:gd name="connsiteY646" fmla="*/ 620446 h 5048250"/>
                  <a:gd name="connsiteX647" fmla="*/ 3976706 w 5514975"/>
                  <a:gd name="connsiteY647" fmla="*/ 677311 h 5048250"/>
                  <a:gd name="connsiteX648" fmla="*/ 3960799 w 5514975"/>
                  <a:gd name="connsiteY648" fmla="*/ 773418 h 5048250"/>
                  <a:gd name="connsiteX649" fmla="*/ 3972991 w 5514975"/>
                  <a:gd name="connsiteY649" fmla="*/ 797326 h 5048250"/>
                  <a:gd name="connsiteX650" fmla="*/ 3958132 w 5514975"/>
                  <a:gd name="connsiteY650" fmla="*/ 819043 h 5048250"/>
                  <a:gd name="connsiteX651" fmla="*/ 3945845 w 5514975"/>
                  <a:gd name="connsiteY651" fmla="*/ 832378 h 5048250"/>
                  <a:gd name="connsiteX652" fmla="*/ 3901744 w 5514975"/>
                  <a:gd name="connsiteY652" fmla="*/ 876002 h 5048250"/>
                  <a:gd name="connsiteX653" fmla="*/ 3862120 w 5514975"/>
                  <a:gd name="connsiteY653" fmla="*/ 908673 h 5048250"/>
                  <a:gd name="connsiteX654" fmla="*/ 3818781 w 5514975"/>
                  <a:gd name="connsiteY654" fmla="*/ 926675 h 5048250"/>
                  <a:gd name="connsiteX655" fmla="*/ 3864978 w 5514975"/>
                  <a:gd name="connsiteY655" fmla="*/ 843712 h 5048250"/>
                  <a:gd name="connsiteX656" fmla="*/ 3867835 w 5514975"/>
                  <a:gd name="connsiteY656" fmla="*/ 822567 h 5048250"/>
                  <a:gd name="connsiteX657" fmla="*/ 3871836 w 5514975"/>
                  <a:gd name="connsiteY657" fmla="*/ 820948 h 5048250"/>
                  <a:gd name="connsiteX658" fmla="*/ 3881170 w 5514975"/>
                  <a:gd name="connsiteY658" fmla="*/ 812756 h 5048250"/>
                  <a:gd name="connsiteX659" fmla="*/ 3901173 w 5514975"/>
                  <a:gd name="connsiteY659" fmla="*/ 772370 h 5048250"/>
                  <a:gd name="connsiteX660" fmla="*/ 3841641 w 5514975"/>
                  <a:gd name="connsiteY660" fmla="*/ 619684 h 5048250"/>
                  <a:gd name="connsiteX661" fmla="*/ 3823925 w 5514975"/>
                  <a:gd name="connsiteY661" fmla="*/ 605778 h 5048250"/>
                  <a:gd name="connsiteX662" fmla="*/ 3810875 w 5514975"/>
                  <a:gd name="connsiteY662" fmla="*/ 595967 h 5048250"/>
                  <a:gd name="connsiteX663" fmla="*/ 3800208 w 5514975"/>
                  <a:gd name="connsiteY663" fmla="*/ 621113 h 5048250"/>
                  <a:gd name="connsiteX664" fmla="*/ 3783444 w 5514975"/>
                  <a:gd name="connsiteY664" fmla="*/ 723602 h 5048250"/>
                  <a:gd name="connsiteX665" fmla="*/ 3805827 w 5514975"/>
                  <a:gd name="connsiteY665" fmla="*/ 790753 h 5048250"/>
                  <a:gd name="connsiteX666" fmla="*/ 3827925 w 5514975"/>
                  <a:gd name="connsiteY666" fmla="*/ 810946 h 5048250"/>
                  <a:gd name="connsiteX667" fmla="*/ 3841260 w 5514975"/>
                  <a:gd name="connsiteY667" fmla="*/ 818090 h 5048250"/>
                  <a:gd name="connsiteX668" fmla="*/ 3848023 w 5514975"/>
                  <a:gd name="connsiteY668" fmla="*/ 820852 h 5048250"/>
                  <a:gd name="connsiteX669" fmla="*/ 3855833 w 5514975"/>
                  <a:gd name="connsiteY669" fmla="*/ 825710 h 5048250"/>
                  <a:gd name="connsiteX670" fmla="*/ 3852405 w 5514975"/>
                  <a:gd name="connsiteY670" fmla="*/ 849713 h 5048250"/>
                  <a:gd name="connsiteX671" fmla="*/ 3842689 w 5514975"/>
                  <a:gd name="connsiteY671" fmla="*/ 874478 h 5048250"/>
                  <a:gd name="connsiteX672" fmla="*/ 3815733 w 5514975"/>
                  <a:gd name="connsiteY672" fmla="*/ 916674 h 5048250"/>
                  <a:gd name="connsiteX673" fmla="*/ 3803637 w 5514975"/>
                  <a:gd name="connsiteY673" fmla="*/ 928580 h 5048250"/>
                  <a:gd name="connsiteX674" fmla="*/ 3780015 w 5514975"/>
                  <a:gd name="connsiteY674" fmla="*/ 932104 h 5048250"/>
                  <a:gd name="connsiteX675" fmla="*/ 3730675 w 5514975"/>
                  <a:gd name="connsiteY675" fmla="*/ 937534 h 5048250"/>
                  <a:gd name="connsiteX676" fmla="*/ 3579799 w 5514975"/>
                  <a:gd name="connsiteY676" fmla="*/ 946963 h 5048250"/>
                  <a:gd name="connsiteX677" fmla="*/ 3443782 w 5514975"/>
                  <a:gd name="connsiteY677" fmla="*/ 944963 h 5048250"/>
                  <a:gd name="connsiteX678" fmla="*/ 3309194 w 5514975"/>
                  <a:gd name="connsiteY678" fmla="*/ 930390 h 5048250"/>
                  <a:gd name="connsiteX679" fmla="*/ 3142221 w 5514975"/>
                  <a:gd name="connsiteY679" fmla="*/ 908101 h 5048250"/>
                  <a:gd name="connsiteX680" fmla="*/ 2994297 w 5514975"/>
                  <a:gd name="connsiteY680" fmla="*/ 894481 h 5048250"/>
                  <a:gd name="connsiteX681" fmla="*/ 2940576 w 5514975"/>
                  <a:gd name="connsiteY681" fmla="*/ 890480 h 5048250"/>
                  <a:gd name="connsiteX682" fmla="*/ 3026016 w 5514975"/>
                  <a:gd name="connsiteY682" fmla="*/ 829139 h 5048250"/>
                  <a:gd name="connsiteX683" fmla="*/ 3111550 w 5514975"/>
                  <a:gd name="connsiteY683" fmla="*/ 762940 h 5048250"/>
                  <a:gd name="connsiteX684" fmla="*/ 3112503 w 5514975"/>
                  <a:gd name="connsiteY684" fmla="*/ 762083 h 5048250"/>
                  <a:gd name="connsiteX685" fmla="*/ 3117741 w 5514975"/>
                  <a:gd name="connsiteY685" fmla="*/ 757797 h 5048250"/>
                  <a:gd name="connsiteX686" fmla="*/ 3127552 w 5514975"/>
                  <a:gd name="connsiteY686" fmla="*/ 757892 h 5048250"/>
                  <a:gd name="connsiteX687" fmla="*/ 3153650 w 5514975"/>
                  <a:gd name="connsiteY687" fmla="*/ 760369 h 5048250"/>
                  <a:gd name="connsiteX688" fmla="*/ 3185940 w 5514975"/>
                  <a:gd name="connsiteY688" fmla="*/ 759321 h 5048250"/>
                  <a:gd name="connsiteX689" fmla="*/ 3274713 w 5514975"/>
                  <a:gd name="connsiteY689" fmla="*/ 719411 h 5048250"/>
                  <a:gd name="connsiteX690" fmla="*/ 3313290 w 5514975"/>
                  <a:gd name="connsiteY690" fmla="*/ 662642 h 5048250"/>
                  <a:gd name="connsiteX691" fmla="*/ 3339483 w 5514975"/>
                  <a:gd name="connsiteY691" fmla="*/ 578346 h 5048250"/>
                  <a:gd name="connsiteX692" fmla="*/ 3340245 w 5514975"/>
                  <a:gd name="connsiteY692" fmla="*/ 570345 h 5048250"/>
                  <a:gd name="connsiteX693" fmla="*/ 3329577 w 5514975"/>
                  <a:gd name="connsiteY693" fmla="*/ 565297 h 5048250"/>
                  <a:gd name="connsiteX694" fmla="*/ 3309003 w 5514975"/>
                  <a:gd name="connsiteY694" fmla="*/ 569773 h 5048250"/>
                  <a:gd name="connsiteX695" fmla="*/ 3221849 w 5514975"/>
                  <a:gd name="connsiteY695" fmla="*/ 598539 h 5048250"/>
                  <a:gd name="connsiteX696" fmla="*/ 3107264 w 5514975"/>
                  <a:gd name="connsiteY696" fmla="*/ 733318 h 5048250"/>
                  <a:gd name="connsiteX697" fmla="*/ 3107454 w 5514975"/>
                  <a:gd name="connsiteY697" fmla="*/ 754558 h 5048250"/>
                  <a:gd name="connsiteX698" fmla="*/ 3092691 w 5514975"/>
                  <a:gd name="connsiteY698" fmla="*/ 769989 h 5048250"/>
                  <a:gd name="connsiteX699" fmla="*/ 3046494 w 5514975"/>
                  <a:gd name="connsiteY699" fmla="*/ 806089 h 5048250"/>
                  <a:gd name="connsiteX700" fmla="*/ 2951816 w 5514975"/>
                  <a:gd name="connsiteY700" fmla="*/ 871621 h 5048250"/>
                  <a:gd name="connsiteX701" fmla="*/ 2984201 w 5514975"/>
                  <a:gd name="connsiteY701" fmla="*/ 807613 h 5048250"/>
                  <a:gd name="connsiteX702" fmla="*/ 2990964 w 5514975"/>
                  <a:gd name="connsiteY702" fmla="*/ 792087 h 5048250"/>
                  <a:gd name="connsiteX703" fmla="*/ 3004870 w 5514975"/>
                  <a:gd name="connsiteY703" fmla="*/ 776656 h 5048250"/>
                  <a:gd name="connsiteX704" fmla="*/ 3024396 w 5514975"/>
                  <a:gd name="connsiteY704" fmla="*/ 742557 h 5048250"/>
                  <a:gd name="connsiteX705" fmla="*/ 3012299 w 5514975"/>
                  <a:gd name="connsiteY705" fmla="*/ 616351 h 5048250"/>
                  <a:gd name="connsiteX706" fmla="*/ 2971247 w 5514975"/>
                  <a:gd name="connsiteY706" fmla="*/ 561106 h 5048250"/>
                  <a:gd name="connsiteX707" fmla="*/ 2957626 w 5514975"/>
                  <a:gd name="connsiteY707" fmla="*/ 556629 h 5048250"/>
                  <a:gd name="connsiteX708" fmla="*/ 2943053 w 5514975"/>
                  <a:gd name="connsiteY708" fmla="*/ 586252 h 5048250"/>
                  <a:gd name="connsiteX709" fmla="*/ 2917621 w 5514975"/>
                  <a:gd name="connsiteY709" fmla="*/ 677501 h 5048250"/>
                  <a:gd name="connsiteX710" fmla="*/ 2959531 w 5514975"/>
                  <a:gd name="connsiteY710" fmla="*/ 779990 h 5048250"/>
                  <a:gd name="connsiteX711" fmla="*/ 2969056 w 5514975"/>
                  <a:gd name="connsiteY711" fmla="*/ 788848 h 5048250"/>
                  <a:gd name="connsiteX712" fmla="*/ 2977724 w 5514975"/>
                  <a:gd name="connsiteY712" fmla="*/ 793992 h 5048250"/>
                  <a:gd name="connsiteX713" fmla="*/ 2974581 w 5514975"/>
                  <a:gd name="connsiteY713" fmla="*/ 810280 h 5048250"/>
                  <a:gd name="connsiteX714" fmla="*/ 2966199 w 5514975"/>
                  <a:gd name="connsiteY714" fmla="*/ 831425 h 5048250"/>
                  <a:gd name="connsiteX715" fmla="*/ 2946482 w 5514975"/>
                  <a:gd name="connsiteY715" fmla="*/ 864001 h 5048250"/>
                  <a:gd name="connsiteX716" fmla="*/ 2932861 w 5514975"/>
                  <a:gd name="connsiteY716" fmla="*/ 881146 h 5048250"/>
                  <a:gd name="connsiteX717" fmla="*/ 2925146 w 5514975"/>
                  <a:gd name="connsiteY717" fmla="*/ 889337 h 5048250"/>
                  <a:gd name="connsiteX718" fmla="*/ 2912192 w 5514975"/>
                  <a:gd name="connsiteY718" fmla="*/ 888861 h 5048250"/>
                  <a:gd name="connsiteX719" fmla="*/ 2647111 w 5514975"/>
                  <a:gd name="connsiteY719" fmla="*/ 905815 h 5048250"/>
                  <a:gd name="connsiteX720" fmla="*/ 2375268 w 5514975"/>
                  <a:gd name="connsiteY720" fmla="*/ 958489 h 5048250"/>
                  <a:gd name="connsiteX721" fmla="*/ 2383554 w 5514975"/>
                  <a:gd name="connsiteY721" fmla="*/ 896862 h 5048250"/>
                  <a:gd name="connsiteX722" fmla="*/ 2427179 w 5514975"/>
                  <a:gd name="connsiteY722" fmla="*/ 792277 h 5048250"/>
                  <a:gd name="connsiteX723" fmla="*/ 2439942 w 5514975"/>
                  <a:gd name="connsiteY723" fmla="*/ 774751 h 5048250"/>
                  <a:gd name="connsiteX724" fmla="*/ 2461469 w 5514975"/>
                  <a:gd name="connsiteY724" fmla="*/ 771799 h 5048250"/>
                  <a:gd name="connsiteX725" fmla="*/ 2497949 w 5514975"/>
                  <a:gd name="connsiteY725" fmla="*/ 764941 h 5048250"/>
                  <a:gd name="connsiteX726" fmla="*/ 2554052 w 5514975"/>
                  <a:gd name="connsiteY726" fmla="*/ 739033 h 5048250"/>
                  <a:gd name="connsiteX727" fmla="*/ 2622156 w 5514975"/>
                  <a:gd name="connsiteY727" fmla="*/ 573393 h 5048250"/>
                  <a:gd name="connsiteX728" fmla="*/ 2619393 w 5514975"/>
                  <a:gd name="connsiteY728" fmla="*/ 543961 h 5048250"/>
                  <a:gd name="connsiteX729" fmla="*/ 2604630 w 5514975"/>
                  <a:gd name="connsiteY729" fmla="*/ 550057 h 5048250"/>
                  <a:gd name="connsiteX730" fmla="*/ 2590533 w 5514975"/>
                  <a:gd name="connsiteY730" fmla="*/ 556438 h 5048250"/>
                  <a:gd name="connsiteX731" fmla="*/ 2518905 w 5514975"/>
                  <a:gd name="connsiteY731" fmla="*/ 593300 h 5048250"/>
                  <a:gd name="connsiteX732" fmla="*/ 2433465 w 5514975"/>
                  <a:gd name="connsiteY732" fmla="*/ 721792 h 5048250"/>
                  <a:gd name="connsiteX733" fmla="*/ 2431179 w 5514975"/>
                  <a:gd name="connsiteY733" fmla="*/ 759988 h 5048250"/>
                  <a:gd name="connsiteX734" fmla="*/ 2433370 w 5514975"/>
                  <a:gd name="connsiteY734" fmla="*/ 767608 h 5048250"/>
                  <a:gd name="connsiteX735" fmla="*/ 2426226 w 5514975"/>
                  <a:gd name="connsiteY735" fmla="*/ 776656 h 5048250"/>
                  <a:gd name="connsiteX736" fmla="*/ 2411939 w 5514975"/>
                  <a:gd name="connsiteY736" fmla="*/ 797230 h 5048250"/>
                  <a:gd name="connsiteX737" fmla="*/ 2374315 w 5514975"/>
                  <a:gd name="connsiteY737" fmla="*/ 895433 h 5048250"/>
                  <a:gd name="connsiteX738" fmla="*/ 2350884 w 5514975"/>
                  <a:gd name="connsiteY738" fmla="*/ 840760 h 5048250"/>
                  <a:gd name="connsiteX739" fmla="*/ 2336310 w 5514975"/>
                  <a:gd name="connsiteY739" fmla="*/ 814947 h 5048250"/>
                  <a:gd name="connsiteX740" fmla="*/ 2328786 w 5514975"/>
                  <a:gd name="connsiteY740" fmla="*/ 803803 h 5048250"/>
                  <a:gd name="connsiteX741" fmla="*/ 2328500 w 5514975"/>
                  <a:gd name="connsiteY741" fmla="*/ 792277 h 5048250"/>
                  <a:gd name="connsiteX742" fmla="*/ 2305259 w 5514975"/>
                  <a:gd name="connsiteY742" fmla="*/ 688455 h 5048250"/>
                  <a:gd name="connsiteX743" fmla="*/ 2230869 w 5514975"/>
                  <a:gd name="connsiteY743" fmla="*/ 624923 h 5048250"/>
                  <a:gd name="connsiteX744" fmla="*/ 2202294 w 5514975"/>
                  <a:gd name="connsiteY744" fmla="*/ 610350 h 5048250"/>
                  <a:gd name="connsiteX745" fmla="*/ 2184577 w 5514975"/>
                  <a:gd name="connsiteY745" fmla="*/ 601396 h 5048250"/>
                  <a:gd name="connsiteX746" fmla="*/ 2168766 w 5514975"/>
                  <a:gd name="connsiteY746" fmla="*/ 592252 h 5048250"/>
                  <a:gd name="connsiteX747" fmla="*/ 2163813 w 5514975"/>
                  <a:gd name="connsiteY747" fmla="*/ 612160 h 5048250"/>
                  <a:gd name="connsiteX748" fmla="*/ 2169337 w 5514975"/>
                  <a:gd name="connsiteY748" fmla="*/ 653022 h 5048250"/>
                  <a:gd name="connsiteX749" fmla="*/ 2188292 w 5514975"/>
                  <a:gd name="connsiteY749" fmla="*/ 728936 h 5048250"/>
                  <a:gd name="connsiteX750" fmla="*/ 2263635 w 5514975"/>
                  <a:gd name="connsiteY750" fmla="*/ 807708 h 5048250"/>
                  <a:gd name="connsiteX751" fmla="*/ 2298591 w 5514975"/>
                  <a:gd name="connsiteY751" fmla="*/ 810851 h 5048250"/>
                  <a:gd name="connsiteX752" fmla="*/ 2319642 w 5514975"/>
                  <a:gd name="connsiteY752" fmla="*/ 808565 h 5048250"/>
                  <a:gd name="connsiteX753" fmla="*/ 2336787 w 5514975"/>
                  <a:gd name="connsiteY753" fmla="*/ 831520 h 5048250"/>
                  <a:gd name="connsiteX754" fmla="*/ 2366028 w 5514975"/>
                  <a:gd name="connsiteY754" fmla="*/ 925437 h 5048250"/>
                  <a:gd name="connsiteX755" fmla="*/ 2364028 w 5514975"/>
                  <a:gd name="connsiteY755" fmla="*/ 954012 h 5048250"/>
                  <a:gd name="connsiteX756" fmla="*/ 2363361 w 5514975"/>
                  <a:gd name="connsiteY756" fmla="*/ 961537 h 5048250"/>
                  <a:gd name="connsiteX757" fmla="*/ 2344407 w 5514975"/>
                  <a:gd name="connsiteY757" fmla="*/ 967061 h 5048250"/>
                  <a:gd name="connsiteX758" fmla="*/ 2303830 w 5514975"/>
                  <a:gd name="connsiteY758" fmla="*/ 980396 h 5048250"/>
                  <a:gd name="connsiteX759" fmla="*/ 2220201 w 5514975"/>
                  <a:gd name="connsiteY759" fmla="*/ 1010876 h 5048250"/>
                  <a:gd name="connsiteX760" fmla="*/ 2142762 w 5514975"/>
                  <a:gd name="connsiteY760" fmla="*/ 1047071 h 5048250"/>
                  <a:gd name="connsiteX761" fmla="*/ 1920163 w 5514975"/>
                  <a:gd name="connsiteY761" fmla="*/ 1180612 h 5048250"/>
                  <a:gd name="connsiteX762" fmla="*/ 1827294 w 5514975"/>
                  <a:gd name="connsiteY762" fmla="*/ 1258812 h 5048250"/>
                  <a:gd name="connsiteX763" fmla="*/ 1564214 w 5514975"/>
                  <a:gd name="connsiteY763" fmla="*/ 1535608 h 5048250"/>
                  <a:gd name="connsiteX764" fmla="*/ 1533829 w 5514975"/>
                  <a:gd name="connsiteY764" fmla="*/ 1569517 h 5048250"/>
                  <a:gd name="connsiteX765" fmla="*/ 1544402 w 5514975"/>
                  <a:gd name="connsiteY765" fmla="*/ 1465695 h 5048250"/>
                  <a:gd name="connsiteX766" fmla="*/ 1555641 w 5514975"/>
                  <a:gd name="connsiteY766" fmla="*/ 1415689 h 5048250"/>
                  <a:gd name="connsiteX767" fmla="*/ 1570786 w 5514975"/>
                  <a:gd name="connsiteY767" fmla="*/ 1369207 h 5048250"/>
                  <a:gd name="connsiteX768" fmla="*/ 1640795 w 5514975"/>
                  <a:gd name="connsiteY768" fmla="*/ 1279481 h 5048250"/>
                  <a:gd name="connsiteX769" fmla="*/ 1659368 w 5514975"/>
                  <a:gd name="connsiteY769" fmla="*/ 1261574 h 5048250"/>
                  <a:gd name="connsiteX770" fmla="*/ 1679181 w 5514975"/>
                  <a:gd name="connsiteY770" fmla="*/ 1244429 h 5048250"/>
                  <a:gd name="connsiteX771" fmla="*/ 1686515 w 5514975"/>
                  <a:gd name="connsiteY771" fmla="*/ 1245858 h 5048250"/>
                  <a:gd name="connsiteX772" fmla="*/ 1700612 w 5514975"/>
                  <a:gd name="connsiteY772" fmla="*/ 1246525 h 5048250"/>
                  <a:gd name="connsiteX773" fmla="*/ 1731187 w 5514975"/>
                  <a:gd name="connsiteY773" fmla="*/ 1245667 h 5048250"/>
                  <a:gd name="connsiteX774" fmla="*/ 1817293 w 5514975"/>
                  <a:gd name="connsiteY774" fmla="*/ 1201376 h 5048250"/>
                  <a:gd name="connsiteX775" fmla="*/ 1869681 w 5514975"/>
                  <a:gd name="connsiteY775" fmla="*/ 1120223 h 5048250"/>
                  <a:gd name="connsiteX776" fmla="*/ 1888254 w 5514975"/>
                  <a:gd name="connsiteY776" fmla="*/ 1072884 h 5048250"/>
                  <a:gd name="connsiteX777" fmla="*/ 1898256 w 5514975"/>
                  <a:gd name="connsiteY777" fmla="*/ 1041547 h 5048250"/>
                  <a:gd name="connsiteX778" fmla="*/ 1886064 w 5514975"/>
                  <a:gd name="connsiteY778" fmla="*/ 1044499 h 5048250"/>
                  <a:gd name="connsiteX779" fmla="*/ 1859298 w 5514975"/>
                  <a:gd name="connsiteY779" fmla="*/ 1051834 h 5048250"/>
                  <a:gd name="connsiteX780" fmla="*/ 1807863 w 5514975"/>
                  <a:gd name="connsiteY780" fmla="*/ 1069741 h 5048250"/>
                  <a:gd name="connsiteX781" fmla="*/ 1718423 w 5514975"/>
                  <a:gd name="connsiteY781" fmla="*/ 1131272 h 5048250"/>
                  <a:gd name="connsiteX782" fmla="*/ 1686420 w 5514975"/>
                  <a:gd name="connsiteY782" fmla="*/ 1181564 h 5048250"/>
                  <a:gd name="connsiteX783" fmla="*/ 1676228 w 5514975"/>
                  <a:gd name="connsiteY783" fmla="*/ 1211473 h 5048250"/>
                  <a:gd name="connsiteX784" fmla="*/ 1673561 w 5514975"/>
                  <a:gd name="connsiteY784" fmla="*/ 1224522 h 5048250"/>
                  <a:gd name="connsiteX785" fmla="*/ 1672418 w 5514975"/>
                  <a:gd name="connsiteY785" fmla="*/ 1235190 h 5048250"/>
                  <a:gd name="connsiteX786" fmla="*/ 1660893 w 5514975"/>
                  <a:gd name="connsiteY786" fmla="*/ 1244524 h 5048250"/>
                  <a:gd name="connsiteX787" fmla="*/ 1646510 w 5514975"/>
                  <a:gd name="connsiteY787" fmla="*/ 1257002 h 5048250"/>
                  <a:gd name="connsiteX788" fmla="*/ 1622888 w 5514975"/>
                  <a:gd name="connsiteY788" fmla="*/ 1277576 h 5048250"/>
                  <a:gd name="connsiteX789" fmla="*/ 1579739 w 5514975"/>
                  <a:gd name="connsiteY789" fmla="*/ 1325773 h 5048250"/>
                  <a:gd name="connsiteX790" fmla="*/ 1635461 w 5514975"/>
                  <a:gd name="connsiteY790" fmla="*/ 1185279 h 5048250"/>
                  <a:gd name="connsiteX791" fmla="*/ 1665179 w 5514975"/>
                  <a:gd name="connsiteY791" fmla="*/ 1114127 h 5048250"/>
                  <a:gd name="connsiteX792" fmla="*/ 1679371 w 5514975"/>
                  <a:gd name="connsiteY792" fmla="*/ 1050976 h 5048250"/>
                  <a:gd name="connsiteX793" fmla="*/ 1685848 w 5514975"/>
                  <a:gd name="connsiteY793" fmla="*/ 1040404 h 5048250"/>
                  <a:gd name="connsiteX794" fmla="*/ 1694516 w 5514975"/>
                  <a:gd name="connsiteY794" fmla="*/ 1035927 h 5048250"/>
                  <a:gd name="connsiteX795" fmla="*/ 1717185 w 5514975"/>
                  <a:gd name="connsiteY795" fmla="*/ 1024687 h 5048250"/>
                  <a:gd name="connsiteX796" fmla="*/ 1767763 w 5514975"/>
                  <a:gd name="connsiteY796" fmla="*/ 988683 h 5048250"/>
                  <a:gd name="connsiteX797" fmla="*/ 1803291 w 5514975"/>
                  <a:gd name="connsiteY797" fmla="*/ 856571 h 5048250"/>
                  <a:gd name="connsiteX798" fmla="*/ 1777002 w 5514975"/>
                  <a:gd name="connsiteY798" fmla="*/ 776275 h 5048250"/>
                  <a:gd name="connsiteX799" fmla="*/ 1767096 w 5514975"/>
                  <a:gd name="connsiteY799" fmla="*/ 761035 h 5048250"/>
                  <a:gd name="connsiteX800" fmla="*/ 1755381 w 5514975"/>
                  <a:gd name="connsiteY800" fmla="*/ 772084 h 5048250"/>
                  <a:gd name="connsiteX801" fmla="*/ 1727568 w 5514975"/>
                  <a:gd name="connsiteY801" fmla="*/ 804279 h 5048250"/>
                  <a:gd name="connsiteX802" fmla="*/ 1664131 w 5514975"/>
                  <a:gd name="connsiteY802" fmla="*/ 1029640 h 5048250"/>
                  <a:gd name="connsiteX803" fmla="*/ 1668703 w 5514975"/>
                  <a:gd name="connsiteY803" fmla="*/ 1039451 h 5048250"/>
                  <a:gd name="connsiteX804" fmla="*/ 1672608 w 5514975"/>
                  <a:gd name="connsiteY804" fmla="*/ 1048214 h 5048250"/>
                  <a:gd name="connsiteX805" fmla="*/ 1664607 w 5514975"/>
                  <a:gd name="connsiteY805" fmla="*/ 1084028 h 5048250"/>
                  <a:gd name="connsiteX806" fmla="*/ 1635556 w 5514975"/>
                  <a:gd name="connsiteY806" fmla="*/ 1161181 h 5048250"/>
                  <a:gd name="connsiteX807" fmla="*/ 1566405 w 5514975"/>
                  <a:gd name="connsiteY807" fmla="*/ 1320724 h 5048250"/>
                  <a:gd name="connsiteX808" fmla="*/ 1560309 w 5514975"/>
                  <a:gd name="connsiteY808" fmla="*/ 1285006 h 5048250"/>
                  <a:gd name="connsiteX809" fmla="*/ 1555546 w 5514975"/>
                  <a:gd name="connsiteY809" fmla="*/ 1251763 h 5048250"/>
                  <a:gd name="connsiteX810" fmla="*/ 1567167 w 5514975"/>
                  <a:gd name="connsiteY810" fmla="*/ 1221188 h 5048250"/>
                  <a:gd name="connsiteX811" fmla="*/ 1573358 w 5514975"/>
                  <a:gd name="connsiteY811" fmla="*/ 1185565 h 5048250"/>
                  <a:gd name="connsiteX812" fmla="*/ 1545354 w 5514975"/>
                  <a:gd name="connsiteY812" fmla="*/ 1068026 h 5048250"/>
                  <a:gd name="connsiteX813" fmla="*/ 1466202 w 5514975"/>
                  <a:gd name="connsiteY813" fmla="*/ 1004685 h 5048250"/>
                  <a:gd name="connsiteX814" fmla="*/ 1440103 w 5514975"/>
                  <a:gd name="connsiteY814" fmla="*/ 994779 h 5048250"/>
                  <a:gd name="connsiteX815" fmla="*/ 1430102 w 5514975"/>
                  <a:gd name="connsiteY815" fmla="*/ 1004399 h 5048250"/>
                  <a:gd name="connsiteX816" fmla="*/ 1424672 w 5514975"/>
                  <a:gd name="connsiteY816" fmla="*/ 1062597 h 5048250"/>
                  <a:gd name="connsiteX817" fmla="*/ 1445532 w 5514975"/>
                  <a:gd name="connsiteY817" fmla="*/ 1188422 h 5048250"/>
                  <a:gd name="connsiteX818" fmla="*/ 1524018 w 5514975"/>
                  <a:gd name="connsiteY818" fmla="*/ 1263098 h 5048250"/>
                  <a:gd name="connsiteX819" fmla="*/ 1540306 w 5514975"/>
                  <a:gd name="connsiteY819" fmla="*/ 1265003 h 5048250"/>
                  <a:gd name="connsiteX820" fmla="*/ 1548497 w 5514975"/>
                  <a:gd name="connsiteY820" fmla="*/ 1268527 h 5048250"/>
                  <a:gd name="connsiteX821" fmla="*/ 1553736 w 5514975"/>
                  <a:gd name="connsiteY821" fmla="*/ 1288149 h 5048250"/>
                  <a:gd name="connsiteX822" fmla="*/ 1558975 w 5514975"/>
                  <a:gd name="connsiteY822" fmla="*/ 1325296 h 5048250"/>
                  <a:gd name="connsiteX823" fmla="*/ 1558975 w 5514975"/>
                  <a:gd name="connsiteY823" fmla="*/ 1341013 h 5048250"/>
                  <a:gd name="connsiteX824" fmla="*/ 1553165 w 5514975"/>
                  <a:gd name="connsiteY824" fmla="*/ 1359967 h 5048250"/>
                  <a:gd name="connsiteX825" fmla="*/ 1518684 w 5514975"/>
                  <a:gd name="connsiteY825" fmla="*/ 1505605 h 5048250"/>
                  <a:gd name="connsiteX826" fmla="*/ 1510683 w 5514975"/>
                  <a:gd name="connsiteY826" fmla="*/ 1583900 h 5048250"/>
                  <a:gd name="connsiteX827" fmla="*/ 1507445 w 5514975"/>
                  <a:gd name="connsiteY827" fmla="*/ 1599807 h 5048250"/>
                  <a:gd name="connsiteX828" fmla="*/ 1495729 w 5514975"/>
                  <a:gd name="connsiteY828" fmla="*/ 1613428 h 5048250"/>
                  <a:gd name="connsiteX829" fmla="*/ 1482108 w 5514975"/>
                  <a:gd name="connsiteY829" fmla="*/ 1629620 h 5048250"/>
                  <a:gd name="connsiteX830" fmla="*/ 1434674 w 5514975"/>
                  <a:gd name="connsiteY830" fmla="*/ 1686008 h 5048250"/>
                  <a:gd name="connsiteX831" fmla="*/ 1321136 w 5514975"/>
                  <a:gd name="connsiteY831" fmla="*/ 1823263 h 5048250"/>
                  <a:gd name="connsiteX832" fmla="*/ 1234744 w 5514975"/>
                  <a:gd name="connsiteY832" fmla="*/ 1934420 h 5048250"/>
                  <a:gd name="connsiteX833" fmla="*/ 1198359 w 5514975"/>
                  <a:gd name="connsiteY833" fmla="*/ 1974806 h 5048250"/>
                  <a:gd name="connsiteX834" fmla="*/ 1150067 w 5514975"/>
                  <a:gd name="connsiteY834" fmla="*/ 1998047 h 5048250"/>
                  <a:gd name="connsiteX835" fmla="*/ 1107681 w 5514975"/>
                  <a:gd name="connsiteY835" fmla="*/ 1979664 h 5048250"/>
                  <a:gd name="connsiteX836" fmla="*/ 1086059 w 5514975"/>
                  <a:gd name="connsiteY836" fmla="*/ 1955566 h 5048250"/>
                  <a:gd name="connsiteX837" fmla="*/ 1065390 w 5514975"/>
                  <a:gd name="connsiteY837" fmla="*/ 1908036 h 5048250"/>
                  <a:gd name="connsiteX838" fmla="*/ 1047959 w 5514975"/>
                  <a:gd name="connsiteY838" fmla="*/ 1828693 h 5048250"/>
                  <a:gd name="connsiteX839" fmla="*/ 1039577 w 5514975"/>
                  <a:gd name="connsiteY839" fmla="*/ 1745254 h 5048250"/>
                  <a:gd name="connsiteX840" fmla="*/ 1038243 w 5514975"/>
                  <a:gd name="connsiteY840" fmla="*/ 1706201 h 5048250"/>
                  <a:gd name="connsiteX841" fmla="*/ 1037005 w 5514975"/>
                  <a:gd name="connsiteY841" fmla="*/ 1671340 h 5048250"/>
                  <a:gd name="connsiteX842" fmla="*/ 1047101 w 5514975"/>
                  <a:gd name="connsiteY842" fmla="*/ 1641717 h 5048250"/>
                  <a:gd name="connsiteX843" fmla="*/ 1061389 w 5514975"/>
                  <a:gd name="connsiteY843" fmla="*/ 1613904 h 5048250"/>
                  <a:gd name="connsiteX844" fmla="*/ 1132922 w 5514975"/>
                  <a:gd name="connsiteY844" fmla="*/ 1527226 h 5048250"/>
                  <a:gd name="connsiteX845" fmla="*/ 1179785 w 5514975"/>
                  <a:gd name="connsiteY845" fmla="*/ 1492841 h 5048250"/>
                  <a:gd name="connsiteX846" fmla="*/ 1219885 w 5514975"/>
                  <a:gd name="connsiteY846" fmla="*/ 1480649 h 5048250"/>
                  <a:gd name="connsiteX847" fmla="*/ 1291799 w 5514975"/>
                  <a:gd name="connsiteY847" fmla="*/ 1485507 h 5048250"/>
                  <a:gd name="connsiteX848" fmla="*/ 1367808 w 5514975"/>
                  <a:gd name="connsiteY848" fmla="*/ 1433500 h 5048250"/>
                  <a:gd name="connsiteX849" fmla="*/ 1415814 w 5514975"/>
                  <a:gd name="connsiteY849" fmla="*/ 1339393 h 5048250"/>
                  <a:gd name="connsiteX850" fmla="*/ 1427530 w 5514975"/>
                  <a:gd name="connsiteY850" fmla="*/ 1301484 h 5048250"/>
                  <a:gd name="connsiteX851" fmla="*/ 1422387 w 5514975"/>
                  <a:gd name="connsiteY851" fmla="*/ 1296912 h 5048250"/>
                  <a:gd name="connsiteX852" fmla="*/ 1403241 w 5514975"/>
                  <a:gd name="connsiteY852" fmla="*/ 1303960 h 5048250"/>
                  <a:gd name="connsiteX853" fmla="*/ 1223409 w 5514975"/>
                  <a:gd name="connsiteY853" fmla="*/ 1403116 h 5048250"/>
                  <a:gd name="connsiteX854" fmla="*/ 1211694 w 5514975"/>
                  <a:gd name="connsiteY854" fmla="*/ 1432548 h 5048250"/>
                  <a:gd name="connsiteX855" fmla="*/ 1209598 w 5514975"/>
                  <a:gd name="connsiteY855" fmla="*/ 1447312 h 5048250"/>
                  <a:gd name="connsiteX856" fmla="*/ 1208646 w 5514975"/>
                  <a:gd name="connsiteY856" fmla="*/ 1463695 h 5048250"/>
                  <a:gd name="connsiteX857" fmla="*/ 1185881 w 5514975"/>
                  <a:gd name="connsiteY857" fmla="*/ 1479792 h 5048250"/>
                  <a:gd name="connsiteX858" fmla="*/ 1163021 w 5514975"/>
                  <a:gd name="connsiteY858" fmla="*/ 1493889 h 5048250"/>
                  <a:gd name="connsiteX859" fmla="*/ 1115682 w 5514975"/>
                  <a:gd name="connsiteY859" fmla="*/ 1530941 h 5048250"/>
                  <a:gd name="connsiteX860" fmla="*/ 1098346 w 5514975"/>
                  <a:gd name="connsiteY860" fmla="*/ 1547991 h 5048250"/>
                  <a:gd name="connsiteX861" fmla="*/ 1089488 w 5514975"/>
                  <a:gd name="connsiteY861" fmla="*/ 1556468 h 5048250"/>
                  <a:gd name="connsiteX862" fmla="*/ 1081868 w 5514975"/>
                  <a:gd name="connsiteY862" fmla="*/ 1565136 h 5048250"/>
                  <a:gd name="connsiteX863" fmla="*/ 1176451 w 5514975"/>
                  <a:gd name="connsiteY863" fmla="*/ 1427119 h 5048250"/>
                  <a:gd name="connsiteX864" fmla="*/ 1215408 w 5514975"/>
                  <a:gd name="connsiteY864" fmla="*/ 1364063 h 5048250"/>
                  <a:gd name="connsiteX865" fmla="*/ 1231601 w 5514975"/>
                  <a:gd name="connsiteY865" fmla="*/ 1298055 h 5048250"/>
                  <a:gd name="connsiteX866" fmla="*/ 1248174 w 5514975"/>
                  <a:gd name="connsiteY866" fmla="*/ 1293578 h 5048250"/>
                  <a:gd name="connsiteX867" fmla="*/ 1264843 w 5514975"/>
                  <a:gd name="connsiteY867" fmla="*/ 1282815 h 5048250"/>
                  <a:gd name="connsiteX868" fmla="*/ 1294466 w 5514975"/>
                  <a:gd name="connsiteY868" fmla="*/ 1252335 h 5048250"/>
                  <a:gd name="connsiteX869" fmla="*/ 1327137 w 5514975"/>
                  <a:gd name="connsiteY869" fmla="*/ 1188136 h 5048250"/>
                  <a:gd name="connsiteX870" fmla="*/ 1320755 w 5514975"/>
                  <a:gd name="connsiteY870" fmla="*/ 1051262 h 5048250"/>
                  <a:gd name="connsiteX871" fmla="*/ 1311706 w 5514975"/>
                  <a:gd name="connsiteY871" fmla="*/ 1016496 h 5048250"/>
                  <a:gd name="connsiteX872" fmla="*/ 1302467 w 5514975"/>
                  <a:gd name="connsiteY872" fmla="*/ 1009066 h 5048250"/>
                  <a:gd name="connsiteX873" fmla="*/ 1272272 w 5514975"/>
                  <a:gd name="connsiteY873" fmla="*/ 1042213 h 5048250"/>
                  <a:gd name="connsiteX874" fmla="*/ 1193120 w 5514975"/>
                  <a:gd name="connsiteY874" fmla="*/ 1181088 h 5048250"/>
                  <a:gd name="connsiteX875" fmla="*/ 1202645 w 5514975"/>
                  <a:gd name="connsiteY875" fmla="*/ 1269289 h 5048250"/>
                  <a:gd name="connsiteX876" fmla="*/ 1217409 w 5514975"/>
                  <a:gd name="connsiteY876" fmla="*/ 1291483 h 5048250"/>
                  <a:gd name="connsiteX877" fmla="*/ 1222362 w 5514975"/>
                  <a:gd name="connsiteY877" fmla="*/ 1298055 h 5048250"/>
                  <a:gd name="connsiteX878" fmla="*/ 1219790 w 5514975"/>
                  <a:gd name="connsiteY878" fmla="*/ 1310533 h 5048250"/>
                  <a:gd name="connsiteX879" fmla="*/ 1214646 w 5514975"/>
                  <a:gd name="connsiteY879" fmla="*/ 1333678 h 5048250"/>
                  <a:gd name="connsiteX880" fmla="*/ 1170736 w 5514975"/>
                  <a:gd name="connsiteY880" fmla="*/ 1416355 h 5048250"/>
                  <a:gd name="connsiteX881" fmla="*/ 1117968 w 5514975"/>
                  <a:gd name="connsiteY881" fmla="*/ 1490269 h 5048250"/>
                  <a:gd name="connsiteX882" fmla="*/ 1035481 w 5514975"/>
                  <a:gd name="connsiteY882" fmla="*/ 1635240 h 5048250"/>
                  <a:gd name="connsiteX883" fmla="*/ 1039863 w 5514975"/>
                  <a:gd name="connsiteY883" fmla="*/ 1542562 h 5048250"/>
                  <a:gd name="connsiteX884" fmla="*/ 1045006 w 5514975"/>
                  <a:gd name="connsiteY884" fmla="*/ 1494937 h 5048250"/>
                  <a:gd name="connsiteX885" fmla="*/ 1047292 w 5514975"/>
                  <a:gd name="connsiteY885" fmla="*/ 1475791 h 5048250"/>
                  <a:gd name="connsiteX886" fmla="*/ 1048721 w 5514975"/>
                  <a:gd name="connsiteY886" fmla="*/ 1467124 h 5048250"/>
                  <a:gd name="connsiteX887" fmla="*/ 1052150 w 5514975"/>
                  <a:gd name="connsiteY887" fmla="*/ 1460266 h 5048250"/>
                  <a:gd name="connsiteX888" fmla="*/ 1053388 w 5514975"/>
                  <a:gd name="connsiteY888" fmla="*/ 1447026 h 5048250"/>
                  <a:gd name="connsiteX889" fmla="*/ 1053864 w 5514975"/>
                  <a:gd name="connsiteY889" fmla="*/ 1440739 h 5048250"/>
                  <a:gd name="connsiteX890" fmla="*/ 1056150 w 5514975"/>
                  <a:gd name="connsiteY890" fmla="*/ 1437977 h 5048250"/>
                  <a:gd name="connsiteX891" fmla="*/ 1054626 w 5514975"/>
                  <a:gd name="connsiteY891" fmla="*/ 1428357 h 5048250"/>
                  <a:gd name="connsiteX892" fmla="*/ 1055960 w 5514975"/>
                  <a:gd name="connsiteY892" fmla="*/ 1380256 h 5048250"/>
                  <a:gd name="connsiteX893" fmla="*/ 1054626 w 5514975"/>
                  <a:gd name="connsiteY893" fmla="*/ 1269480 h 5048250"/>
                  <a:gd name="connsiteX894" fmla="*/ 1062246 w 5514975"/>
                  <a:gd name="connsiteY894" fmla="*/ 1063549 h 5048250"/>
                  <a:gd name="connsiteX895" fmla="*/ 1077867 w 5514975"/>
                  <a:gd name="connsiteY895" fmla="*/ 906958 h 5048250"/>
                  <a:gd name="connsiteX896" fmla="*/ 1085583 w 5514975"/>
                  <a:gd name="connsiteY896" fmla="*/ 836378 h 5048250"/>
                  <a:gd name="connsiteX897" fmla="*/ 1099394 w 5514975"/>
                  <a:gd name="connsiteY897" fmla="*/ 759035 h 5048250"/>
                  <a:gd name="connsiteX898" fmla="*/ 1103585 w 5514975"/>
                  <a:gd name="connsiteY898" fmla="*/ 741700 h 5048250"/>
                  <a:gd name="connsiteX899" fmla="*/ 1116253 w 5514975"/>
                  <a:gd name="connsiteY899" fmla="*/ 720459 h 5048250"/>
                  <a:gd name="connsiteX900" fmla="*/ 1190643 w 5514975"/>
                  <a:gd name="connsiteY900" fmla="*/ 654736 h 5048250"/>
                  <a:gd name="connsiteX901" fmla="*/ 1210741 w 5514975"/>
                  <a:gd name="connsiteY901" fmla="*/ 643402 h 5048250"/>
                  <a:gd name="connsiteX902" fmla="*/ 1236459 w 5514975"/>
                  <a:gd name="connsiteY902" fmla="*/ 631495 h 5048250"/>
                  <a:gd name="connsiteX903" fmla="*/ 1248555 w 5514975"/>
                  <a:gd name="connsiteY903" fmla="*/ 637782 h 5048250"/>
                  <a:gd name="connsiteX904" fmla="*/ 1270272 w 5514975"/>
                  <a:gd name="connsiteY904" fmla="*/ 648164 h 5048250"/>
                  <a:gd name="connsiteX905" fmla="*/ 1360760 w 5514975"/>
                  <a:gd name="connsiteY905" fmla="*/ 635686 h 5048250"/>
                  <a:gd name="connsiteX906" fmla="*/ 1420291 w 5514975"/>
                  <a:gd name="connsiteY906" fmla="*/ 578536 h 5048250"/>
                  <a:gd name="connsiteX907" fmla="*/ 1443151 w 5514975"/>
                  <a:gd name="connsiteY907" fmla="*/ 537960 h 5048250"/>
                  <a:gd name="connsiteX908" fmla="*/ 1464011 w 5514975"/>
                  <a:gd name="connsiteY908" fmla="*/ 491478 h 5048250"/>
                  <a:gd name="connsiteX909" fmla="*/ 1470773 w 5514975"/>
                  <a:gd name="connsiteY909" fmla="*/ 476714 h 5048250"/>
                  <a:gd name="connsiteX910" fmla="*/ 1455152 w 5514975"/>
                  <a:gd name="connsiteY910" fmla="*/ 477857 h 5048250"/>
                  <a:gd name="connsiteX911" fmla="*/ 1418100 w 5514975"/>
                  <a:gd name="connsiteY911" fmla="*/ 481953 h 5048250"/>
                  <a:gd name="connsiteX912" fmla="*/ 1252556 w 5514975"/>
                  <a:gd name="connsiteY912" fmla="*/ 565392 h 5048250"/>
                  <a:gd name="connsiteX913" fmla="*/ 1236554 w 5514975"/>
                  <a:gd name="connsiteY913" fmla="*/ 617684 h 5048250"/>
                  <a:gd name="connsiteX914" fmla="*/ 1234363 w 5514975"/>
                  <a:gd name="connsiteY914" fmla="*/ 624637 h 5048250"/>
                  <a:gd name="connsiteX915" fmla="*/ 1222552 w 5514975"/>
                  <a:gd name="connsiteY915" fmla="*/ 629781 h 5048250"/>
                  <a:gd name="connsiteX916" fmla="*/ 1198835 w 5514975"/>
                  <a:gd name="connsiteY916" fmla="*/ 641687 h 5048250"/>
                  <a:gd name="connsiteX917" fmla="*/ 1112253 w 5514975"/>
                  <a:gd name="connsiteY917" fmla="*/ 711124 h 5048250"/>
                  <a:gd name="connsiteX918" fmla="*/ 1129874 w 5514975"/>
                  <a:gd name="connsiteY918" fmla="*/ 657213 h 5048250"/>
                  <a:gd name="connsiteX919" fmla="*/ 1162259 w 5514975"/>
                  <a:gd name="connsiteY919" fmla="*/ 590347 h 5048250"/>
                  <a:gd name="connsiteX920" fmla="*/ 1259223 w 5514975"/>
                  <a:gd name="connsiteY920" fmla="*/ 470713 h 5048250"/>
                  <a:gd name="connsiteX921" fmla="*/ 1490395 w 5514975"/>
                  <a:gd name="connsiteY921" fmla="*/ 363938 h 5048250"/>
                  <a:gd name="connsiteX922" fmla="*/ 1539639 w 5514975"/>
                  <a:gd name="connsiteY922" fmla="*/ 350794 h 5048250"/>
                  <a:gd name="connsiteX923" fmla="*/ 1580978 w 5514975"/>
                  <a:gd name="connsiteY923" fmla="*/ 348984 h 5048250"/>
                  <a:gd name="connsiteX924" fmla="*/ 1610315 w 5514975"/>
                  <a:gd name="connsiteY924" fmla="*/ 358223 h 5048250"/>
                  <a:gd name="connsiteX925" fmla="*/ 1634604 w 5514975"/>
                  <a:gd name="connsiteY925" fmla="*/ 366415 h 5048250"/>
                  <a:gd name="connsiteX926" fmla="*/ 1667846 w 5514975"/>
                  <a:gd name="connsiteY926" fmla="*/ 383083 h 5048250"/>
                  <a:gd name="connsiteX927" fmla="*/ 1671275 w 5514975"/>
                  <a:gd name="connsiteY927" fmla="*/ 388989 h 5048250"/>
                  <a:gd name="connsiteX928" fmla="*/ 1675561 w 5514975"/>
                  <a:gd name="connsiteY928" fmla="*/ 408325 h 5048250"/>
                  <a:gd name="connsiteX929" fmla="*/ 1708708 w 5514975"/>
                  <a:gd name="connsiteY929" fmla="*/ 459569 h 5048250"/>
                  <a:gd name="connsiteX930" fmla="*/ 1821389 w 5514975"/>
                  <a:gd name="connsiteY930" fmla="*/ 487954 h 5048250"/>
                  <a:gd name="connsiteX931" fmla="*/ 1847868 w 5514975"/>
                  <a:gd name="connsiteY931" fmla="*/ 487096 h 5048250"/>
                  <a:gd name="connsiteX932" fmla="*/ 1882825 w 5514975"/>
                  <a:gd name="connsiteY932" fmla="*/ 485668 h 5048250"/>
                  <a:gd name="connsiteX933" fmla="*/ 1866633 w 5514975"/>
                  <a:gd name="connsiteY933" fmla="*/ 451187 h 5048250"/>
                  <a:gd name="connsiteX934" fmla="*/ 1749570 w 5514975"/>
                  <a:gd name="connsiteY934" fmla="*/ 367748 h 5048250"/>
                  <a:gd name="connsiteX935" fmla="*/ 1713852 w 5514975"/>
                  <a:gd name="connsiteY935" fmla="*/ 364605 h 5048250"/>
                  <a:gd name="connsiteX936" fmla="*/ 1694611 w 5514975"/>
                  <a:gd name="connsiteY936" fmla="*/ 368320 h 5048250"/>
                  <a:gd name="connsiteX937" fmla="*/ 1676418 w 5514975"/>
                  <a:gd name="connsiteY937" fmla="*/ 368224 h 5048250"/>
                  <a:gd name="connsiteX938" fmla="*/ 1605647 w 5514975"/>
                  <a:gd name="connsiteY938" fmla="*/ 335077 h 5048250"/>
                  <a:gd name="connsiteX939" fmla="*/ 1684705 w 5514975"/>
                  <a:gd name="connsiteY939" fmla="*/ 311836 h 5048250"/>
                  <a:gd name="connsiteX940" fmla="*/ 1805863 w 5514975"/>
                  <a:gd name="connsiteY940" fmla="*/ 273546 h 5048250"/>
                  <a:gd name="connsiteX941" fmla="*/ 1831390 w 5514975"/>
                  <a:gd name="connsiteY941" fmla="*/ 269736 h 5048250"/>
                  <a:gd name="connsiteX942" fmla="*/ 1865299 w 5514975"/>
                  <a:gd name="connsiteY942" fmla="*/ 267355 h 5048250"/>
                  <a:gd name="connsiteX943" fmla="*/ 1886349 w 5514975"/>
                  <a:gd name="connsiteY943" fmla="*/ 274117 h 5048250"/>
                  <a:gd name="connsiteX944" fmla="*/ 1912734 w 5514975"/>
                  <a:gd name="connsiteY944" fmla="*/ 286690 h 5048250"/>
                  <a:gd name="connsiteX945" fmla="*/ 1974360 w 5514975"/>
                  <a:gd name="connsiteY945" fmla="*/ 293167 h 5048250"/>
                  <a:gd name="connsiteX946" fmla="*/ 2021509 w 5514975"/>
                  <a:gd name="connsiteY946" fmla="*/ 280213 h 5048250"/>
                  <a:gd name="connsiteX947" fmla="*/ 2117426 w 5514975"/>
                  <a:gd name="connsiteY947" fmla="*/ 169914 h 5048250"/>
                  <a:gd name="connsiteX948" fmla="*/ 2140000 w 5514975"/>
                  <a:gd name="connsiteY948" fmla="*/ 105906 h 5048250"/>
                  <a:gd name="connsiteX949" fmla="*/ 2143905 w 5514975"/>
                  <a:gd name="connsiteY949" fmla="*/ 96000 h 5048250"/>
                  <a:gd name="connsiteX950" fmla="*/ 2136095 w 5514975"/>
                  <a:gd name="connsiteY950" fmla="*/ 91237 h 5048250"/>
                  <a:gd name="connsiteX951" fmla="*/ 2075706 w 5514975"/>
                  <a:gd name="connsiteY951" fmla="*/ 100953 h 5048250"/>
                  <a:gd name="connsiteX952" fmla="*/ 1876348 w 5514975"/>
                  <a:gd name="connsiteY952" fmla="*/ 214491 h 5048250"/>
                  <a:gd name="connsiteX953" fmla="*/ 1871014 w 5514975"/>
                  <a:gd name="connsiteY953" fmla="*/ 240589 h 5048250"/>
                  <a:gd name="connsiteX954" fmla="*/ 1866823 w 5514975"/>
                  <a:gd name="connsiteY954" fmla="*/ 245923 h 5048250"/>
                  <a:gd name="connsiteX955" fmla="*/ 1849488 w 5514975"/>
                  <a:gd name="connsiteY955" fmla="*/ 252305 h 5048250"/>
                  <a:gd name="connsiteX956" fmla="*/ 1790718 w 5514975"/>
                  <a:gd name="connsiteY956" fmla="*/ 265164 h 5048250"/>
                  <a:gd name="connsiteX957" fmla="*/ 1737664 w 5514975"/>
                  <a:gd name="connsiteY957" fmla="*/ 278785 h 5048250"/>
                  <a:gd name="connsiteX958" fmla="*/ 1697088 w 5514975"/>
                  <a:gd name="connsiteY958" fmla="*/ 293358 h 5048250"/>
                  <a:gd name="connsiteX959" fmla="*/ 1754523 w 5514975"/>
                  <a:gd name="connsiteY959" fmla="*/ 237827 h 5048250"/>
                  <a:gd name="connsiteX960" fmla="*/ 1768525 w 5514975"/>
                  <a:gd name="connsiteY960" fmla="*/ 229350 h 5048250"/>
                  <a:gd name="connsiteX961" fmla="*/ 1784527 w 5514975"/>
                  <a:gd name="connsiteY961" fmla="*/ 224778 h 5048250"/>
                  <a:gd name="connsiteX962" fmla="*/ 1819674 w 5514975"/>
                  <a:gd name="connsiteY962" fmla="*/ 209347 h 5048250"/>
                  <a:gd name="connsiteX963" fmla="*/ 1867490 w 5514975"/>
                  <a:gd name="connsiteY963" fmla="*/ 159436 h 5048250"/>
                  <a:gd name="connsiteX964" fmla="*/ 1878063 w 5514975"/>
                  <a:gd name="connsiteY964" fmla="*/ 86951 h 5048250"/>
                  <a:gd name="connsiteX965" fmla="*/ 1879206 w 5514975"/>
                  <a:gd name="connsiteY965" fmla="*/ 16180 h 5048250"/>
                  <a:gd name="connsiteX966" fmla="*/ 1880158 w 5514975"/>
                  <a:gd name="connsiteY966" fmla="*/ 8275 h 5048250"/>
                  <a:gd name="connsiteX967" fmla="*/ 1869204 w 5514975"/>
                  <a:gd name="connsiteY967" fmla="*/ 14656 h 5048250"/>
                  <a:gd name="connsiteX968" fmla="*/ 1842248 w 5514975"/>
                  <a:gd name="connsiteY968" fmla="*/ 31135 h 5048250"/>
                  <a:gd name="connsiteX969" fmla="*/ 1738902 w 5514975"/>
                  <a:gd name="connsiteY969" fmla="*/ 127147 h 5048250"/>
                  <a:gd name="connsiteX970" fmla="*/ 1738997 w 5514975"/>
                  <a:gd name="connsiteY970" fmla="*/ 189440 h 5048250"/>
                  <a:gd name="connsiteX971" fmla="*/ 1742141 w 5514975"/>
                  <a:gd name="connsiteY971" fmla="*/ 212014 h 5048250"/>
                  <a:gd name="connsiteX972" fmla="*/ 1735854 w 5514975"/>
                  <a:gd name="connsiteY972" fmla="*/ 240970 h 5048250"/>
                  <a:gd name="connsiteX973" fmla="*/ 1663750 w 5514975"/>
                  <a:gd name="connsiteY973" fmla="*/ 298787 h 5048250"/>
                  <a:gd name="connsiteX974" fmla="*/ 1606791 w 5514975"/>
                  <a:gd name="connsiteY974" fmla="*/ 312503 h 5048250"/>
                  <a:gd name="connsiteX975" fmla="*/ 1391145 w 5514975"/>
                  <a:gd name="connsiteY975" fmla="*/ 370987 h 5048250"/>
                  <a:gd name="connsiteX976" fmla="*/ 1335995 w 5514975"/>
                  <a:gd name="connsiteY976" fmla="*/ 397371 h 5048250"/>
                  <a:gd name="connsiteX977" fmla="*/ 1284464 w 5514975"/>
                  <a:gd name="connsiteY977" fmla="*/ 429089 h 5048250"/>
                  <a:gd name="connsiteX978" fmla="*/ 1218933 w 5514975"/>
                  <a:gd name="connsiteY978" fmla="*/ 481286 h 5048250"/>
                  <a:gd name="connsiteX979" fmla="*/ 1207979 w 5514975"/>
                  <a:gd name="connsiteY979" fmla="*/ 491383 h 5048250"/>
                  <a:gd name="connsiteX980" fmla="*/ 1221981 w 5514975"/>
                  <a:gd name="connsiteY980" fmla="*/ 432042 h 5048250"/>
                  <a:gd name="connsiteX981" fmla="*/ 1227219 w 5514975"/>
                  <a:gd name="connsiteY981" fmla="*/ 416897 h 5048250"/>
                  <a:gd name="connsiteX982" fmla="*/ 1243031 w 5514975"/>
                  <a:gd name="connsiteY982" fmla="*/ 401181 h 5048250"/>
                  <a:gd name="connsiteX983" fmla="*/ 1308848 w 5514975"/>
                  <a:gd name="connsiteY983" fmla="*/ 350794 h 5048250"/>
                  <a:gd name="connsiteX984" fmla="*/ 1329137 w 5514975"/>
                  <a:gd name="connsiteY984" fmla="*/ 325076 h 5048250"/>
                  <a:gd name="connsiteX985" fmla="*/ 1344377 w 5514975"/>
                  <a:gd name="connsiteY985" fmla="*/ 296025 h 5048250"/>
                  <a:gd name="connsiteX986" fmla="*/ 1347139 w 5514975"/>
                  <a:gd name="connsiteY986" fmla="*/ 231731 h 5048250"/>
                  <a:gd name="connsiteX987" fmla="*/ 1336281 w 5514975"/>
                  <a:gd name="connsiteY987" fmla="*/ 148197 h 5048250"/>
                  <a:gd name="connsiteX988" fmla="*/ 1329327 w 5514975"/>
                  <a:gd name="connsiteY988" fmla="*/ 122765 h 5048250"/>
                  <a:gd name="connsiteX989" fmla="*/ 1312182 w 5514975"/>
                  <a:gd name="connsiteY989" fmla="*/ 131338 h 5048250"/>
                  <a:gd name="connsiteX990" fmla="*/ 1258176 w 5514975"/>
                  <a:gd name="connsiteY990" fmla="*/ 179725 h 5048250"/>
                  <a:gd name="connsiteX991" fmla="*/ 1242173 w 5514975"/>
                  <a:gd name="connsiteY991" fmla="*/ 204013 h 5048250"/>
                  <a:gd name="connsiteX992" fmla="*/ 1224171 w 5514975"/>
                  <a:gd name="connsiteY992" fmla="*/ 234017 h 5048250"/>
                  <a:gd name="connsiteX993" fmla="*/ 1207598 w 5514975"/>
                  <a:gd name="connsiteY993" fmla="*/ 292405 h 5048250"/>
                  <a:gd name="connsiteX994" fmla="*/ 1211789 w 5514975"/>
                  <a:gd name="connsiteY994" fmla="*/ 355366 h 5048250"/>
                  <a:gd name="connsiteX995" fmla="*/ 1221409 w 5514975"/>
                  <a:gd name="connsiteY995" fmla="*/ 390513 h 5048250"/>
                  <a:gd name="connsiteX996" fmla="*/ 1215027 w 5514975"/>
                  <a:gd name="connsiteY996" fmla="*/ 414040 h 5048250"/>
                  <a:gd name="connsiteX997" fmla="*/ 1205693 w 5514975"/>
                  <a:gd name="connsiteY997" fmla="*/ 436900 h 5048250"/>
                  <a:gd name="connsiteX998" fmla="*/ 1191691 w 5514975"/>
                  <a:gd name="connsiteY998" fmla="*/ 492335 h 5048250"/>
                  <a:gd name="connsiteX999" fmla="*/ 1187310 w 5514975"/>
                  <a:gd name="connsiteY999" fmla="*/ 512052 h 5048250"/>
                  <a:gd name="connsiteX1000" fmla="*/ 1175594 w 5514975"/>
                  <a:gd name="connsiteY1000" fmla="*/ 525101 h 5048250"/>
                  <a:gd name="connsiteX1001" fmla="*/ 1158354 w 5514975"/>
                  <a:gd name="connsiteY1001" fmla="*/ 545961 h 5048250"/>
                  <a:gd name="connsiteX1002" fmla="*/ 1129302 w 5514975"/>
                  <a:gd name="connsiteY1002" fmla="*/ 590919 h 5048250"/>
                  <a:gd name="connsiteX1003" fmla="*/ 1077010 w 5514975"/>
                  <a:gd name="connsiteY1003" fmla="*/ 710172 h 5048250"/>
                  <a:gd name="connsiteX1004" fmla="*/ 1042625 w 5514975"/>
                  <a:gd name="connsiteY1004" fmla="*/ 829234 h 5048250"/>
                  <a:gd name="connsiteX1005" fmla="*/ 992047 w 5514975"/>
                  <a:gd name="connsiteY1005" fmla="*/ 708172 h 5048250"/>
                  <a:gd name="connsiteX1006" fmla="*/ 979855 w 5514975"/>
                  <a:gd name="connsiteY1006" fmla="*/ 642449 h 5048250"/>
                  <a:gd name="connsiteX1007" fmla="*/ 979855 w 5514975"/>
                  <a:gd name="connsiteY1007" fmla="*/ 614446 h 5048250"/>
                  <a:gd name="connsiteX1008" fmla="*/ 992333 w 5514975"/>
                  <a:gd name="connsiteY1008" fmla="*/ 583966 h 5048250"/>
                  <a:gd name="connsiteX1009" fmla="*/ 1020051 w 5514975"/>
                  <a:gd name="connsiteY1009" fmla="*/ 466427 h 5048250"/>
                  <a:gd name="connsiteX1010" fmla="*/ 971663 w 5514975"/>
                  <a:gd name="connsiteY1010" fmla="*/ 383560 h 5048250"/>
                  <a:gd name="connsiteX1011" fmla="*/ 948327 w 5514975"/>
                  <a:gd name="connsiteY1011" fmla="*/ 360985 h 5048250"/>
                  <a:gd name="connsiteX1012" fmla="*/ 925086 w 5514975"/>
                  <a:gd name="connsiteY1012" fmla="*/ 338316 h 5048250"/>
                  <a:gd name="connsiteX1013" fmla="*/ 917180 w 5514975"/>
                  <a:gd name="connsiteY1013" fmla="*/ 335077 h 5048250"/>
                  <a:gd name="connsiteX1014" fmla="*/ 912323 w 5514975"/>
                  <a:gd name="connsiteY1014" fmla="*/ 350222 h 5048250"/>
                  <a:gd name="connsiteX1015" fmla="*/ 893749 w 5514975"/>
                  <a:gd name="connsiteY1015" fmla="*/ 395656 h 5048250"/>
                  <a:gd name="connsiteX1016" fmla="*/ 874128 w 5514975"/>
                  <a:gd name="connsiteY1016" fmla="*/ 460712 h 5048250"/>
                  <a:gd name="connsiteX1017" fmla="*/ 900417 w 5514975"/>
                  <a:gd name="connsiteY1017" fmla="*/ 563296 h 5048250"/>
                  <a:gd name="connsiteX1018" fmla="*/ 935945 w 5514975"/>
                  <a:gd name="connsiteY1018" fmla="*/ 588633 h 5048250"/>
                  <a:gd name="connsiteX1019" fmla="*/ 959662 w 5514975"/>
                  <a:gd name="connsiteY1019" fmla="*/ 609493 h 5048250"/>
                  <a:gd name="connsiteX1020" fmla="*/ 970044 w 5514975"/>
                  <a:gd name="connsiteY1020" fmla="*/ 635782 h 5048250"/>
                  <a:gd name="connsiteX1021" fmla="*/ 1005001 w 5514975"/>
                  <a:gd name="connsiteY1021" fmla="*/ 774942 h 5048250"/>
                  <a:gd name="connsiteX1022" fmla="*/ 974616 w 5514975"/>
                  <a:gd name="connsiteY1022" fmla="*/ 753320 h 5048250"/>
                  <a:gd name="connsiteX1023" fmla="*/ 956709 w 5514975"/>
                  <a:gd name="connsiteY1023" fmla="*/ 742843 h 5048250"/>
                  <a:gd name="connsiteX1024" fmla="*/ 942326 w 5514975"/>
                  <a:gd name="connsiteY1024" fmla="*/ 734461 h 5048250"/>
                  <a:gd name="connsiteX1025" fmla="*/ 931563 w 5514975"/>
                  <a:gd name="connsiteY1025" fmla="*/ 706933 h 5048250"/>
                  <a:gd name="connsiteX1026" fmla="*/ 917847 w 5514975"/>
                  <a:gd name="connsiteY1026" fmla="*/ 681311 h 5048250"/>
                  <a:gd name="connsiteX1027" fmla="*/ 860983 w 5514975"/>
                  <a:gd name="connsiteY1027" fmla="*/ 636067 h 5048250"/>
                  <a:gd name="connsiteX1028" fmla="*/ 792784 w 5514975"/>
                  <a:gd name="connsiteY1028" fmla="*/ 625685 h 5048250"/>
                  <a:gd name="connsiteX1029" fmla="*/ 734872 w 5514975"/>
                  <a:gd name="connsiteY1029" fmla="*/ 629781 h 5048250"/>
                  <a:gd name="connsiteX1030" fmla="*/ 708392 w 5514975"/>
                  <a:gd name="connsiteY1030" fmla="*/ 632829 h 5048250"/>
                  <a:gd name="connsiteX1031" fmla="*/ 695915 w 5514975"/>
                  <a:gd name="connsiteY1031" fmla="*/ 632829 h 5048250"/>
                  <a:gd name="connsiteX1032" fmla="*/ 690009 w 5514975"/>
                  <a:gd name="connsiteY1032" fmla="*/ 637877 h 5048250"/>
                  <a:gd name="connsiteX1033" fmla="*/ 701344 w 5514975"/>
                  <a:gd name="connsiteY1033" fmla="*/ 650260 h 5048250"/>
                  <a:gd name="connsiteX1034" fmla="*/ 716394 w 5514975"/>
                  <a:gd name="connsiteY1034" fmla="*/ 666262 h 5048250"/>
                  <a:gd name="connsiteX1035" fmla="*/ 735920 w 5514975"/>
                  <a:gd name="connsiteY1035" fmla="*/ 687407 h 5048250"/>
                  <a:gd name="connsiteX1036" fmla="*/ 796784 w 5514975"/>
                  <a:gd name="connsiteY1036" fmla="*/ 737128 h 5048250"/>
                  <a:gd name="connsiteX1037" fmla="*/ 879176 w 5514975"/>
                  <a:gd name="connsiteY1037" fmla="*/ 762274 h 5048250"/>
                  <a:gd name="connsiteX1038" fmla="*/ 912513 w 5514975"/>
                  <a:gd name="connsiteY1038" fmla="*/ 757987 h 5048250"/>
                  <a:gd name="connsiteX1039" fmla="*/ 942041 w 5514975"/>
                  <a:gd name="connsiteY1039" fmla="*/ 746748 h 5048250"/>
                  <a:gd name="connsiteX1040" fmla="*/ 1002239 w 5514975"/>
                  <a:gd name="connsiteY1040" fmla="*/ 784657 h 5048250"/>
                  <a:gd name="connsiteX1041" fmla="*/ 1036243 w 5514975"/>
                  <a:gd name="connsiteY1041" fmla="*/ 838283 h 5048250"/>
                  <a:gd name="connsiteX1042" fmla="*/ 1037672 w 5514975"/>
                  <a:gd name="connsiteY1042" fmla="*/ 852285 h 5048250"/>
                  <a:gd name="connsiteX1043" fmla="*/ 1035481 w 5514975"/>
                  <a:gd name="connsiteY1043" fmla="*/ 863334 h 5048250"/>
                  <a:gd name="connsiteX1044" fmla="*/ 1031480 w 5514975"/>
                  <a:gd name="connsiteY1044" fmla="*/ 882765 h 5048250"/>
                  <a:gd name="connsiteX1045" fmla="*/ 1016431 w 5514975"/>
                  <a:gd name="connsiteY1045" fmla="*/ 964680 h 5048250"/>
                  <a:gd name="connsiteX1046" fmla="*/ 1002524 w 5514975"/>
                  <a:gd name="connsiteY1046" fmla="*/ 1123271 h 5048250"/>
                  <a:gd name="connsiteX1047" fmla="*/ 1003858 w 5514975"/>
                  <a:gd name="connsiteY1047" fmla="*/ 1308437 h 5048250"/>
                  <a:gd name="connsiteX1048" fmla="*/ 996905 w 5514975"/>
                  <a:gd name="connsiteY1048" fmla="*/ 1395686 h 5048250"/>
                  <a:gd name="connsiteX1049" fmla="*/ 988809 w 5514975"/>
                  <a:gd name="connsiteY1049" fmla="*/ 1490174 h 5048250"/>
                  <a:gd name="connsiteX1050" fmla="*/ 978236 w 5514975"/>
                  <a:gd name="connsiteY1050" fmla="*/ 1595425 h 5048250"/>
                  <a:gd name="connsiteX1051" fmla="*/ 971473 w 5514975"/>
                  <a:gd name="connsiteY1051" fmla="*/ 1676769 h 5048250"/>
                  <a:gd name="connsiteX1052" fmla="*/ 922896 w 5514975"/>
                  <a:gd name="connsiteY1052" fmla="*/ 1597426 h 5048250"/>
                  <a:gd name="connsiteX1053" fmla="*/ 875747 w 5514975"/>
                  <a:gd name="connsiteY1053" fmla="*/ 1516749 h 5048250"/>
                  <a:gd name="connsiteX1054" fmla="*/ 841933 w 5514975"/>
                  <a:gd name="connsiteY1054" fmla="*/ 1415212 h 5048250"/>
                  <a:gd name="connsiteX1055" fmla="*/ 846315 w 5514975"/>
                  <a:gd name="connsiteY1055" fmla="*/ 1355681 h 5048250"/>
                  <a:gd name="connsiteX1056" fmla="*/ 850601 w 5514975"/>
                  <a:gd name="connsiteY1056" fmla="*/ 1331392 h 5048250"/>
                  <a:gd name="connsiteX1057" fmla="*/ 866126 w 5514975"/>
                  <a:gd name="connsiteY1057" fmla="*/ 1317867 h 5048250"/>
                  <a:gd name="connsiteX1058" fmla="*/ 903465 w 5514975"/>
                  <a:gd name="connsiteY1058" fmla="*/ 1276528 h 5048250"/>
                  <a:gd name="connsiteX1059" fmla="*/ 911180 w 5514975"/>
                  <a:gd name="connsiteY1059" fmla="*/ 1220902 h 5048250"/>
                  <a:gd name="connsiteX1060" fmla="*/ 889558 w 5514975"/>
                  <a:gd name="connsiteY1060" fmla="*/ 1138321 h 5048250"/>
                  <a:gd name="connsiteX1061" fmla="*/ 878509 w 5514975"/>
                  <a:gd name="connsiteY1061" fmla="*/ 1114508 h 5048250"/>
                  <a:gd name="connsiteX1062" fmla="*/ 868698 w 5514975"/>
                  <a:gd name="connsiteY1062" fmla="*/ 1086028 h 5048250"/>
                  <a:gd name="connsiteX1063" fmla="*/ 850505 w 5514975"/>
                  <a:gd name="connsiteY1063" fmla="*/ 1119556 h 5048250"/>
                  <a:gd name="connsiteX1064" fmla="*/ 806976 w 5514975"/>
                  <a:gd name="connsiteY1064" fmla="*/ 1233666 h 5048250"/>
                  <a:gd name="connsiteX1065" fmla="*/ 818978 w 5514975"/>
                  <a:gd name="connsiteY1065" fmla="*/ 1306532 h 5048250"/>
                  <a:gd name="connsiteX1066" fmla="*/ 836790 w 5514975"/>
                  <a:gd name="connsiteY1066" fmla="*/ 1346918 h 5048250"/>
                  <a:gd name="connsiteX1067" fmla="*/ 830694 w 5514975"/>
                  <a:gd name="connsiteY1067" fmla="*/ 1397496 h 5048250"/>
                  <a:gd name="connsiteX1068" fmla="*/ 833742 w 5514975"/>
                  <a:gd name="connsiteY1068" fmla="*/ 1454741 h 5048250"/>
                  <a:gd name="connsiteX1069" fmla="*/ 797832 w 5514975"/>
                  <a:gd name="connsiteY1069" fmla="*/ 1383494 h 5048250"/>
                  <a:gd name="connsiteX1070" fmla="*/ 745635 w 5514975"/>
                  <a:gd name="connsiteY1070" fmla="*/ 1287482 h 5048250"/>
                  <a:gd name="connsiteX1071" fmla="*/ 738872 w 5514975"/>
                  <a:gd name="connsiteY1071" fmla="*/ 1267765 h 5048250"/>
                  <a:gd name="connsiteX1072" fmla="*/ 739539 w 5514975"/>
                  <a:gd name="connsiteY1072" fmla="*/ 1249096 h 5048250"/>
                  <a:gd name="connsiteX1073" fmla="*/ 735253 w 5514975"/>
                  <a:gd name="connsiteY1073" fmla="*/ 1202710 h 5048250"/>
                  <a:gd name="connsiteX1074" fmla="*/ 640194 w 5514975"/>
                  <a:gd name="connsiteY1074" fmla="*/ 1101840 h 5048250"/>
                  <a:gd name="connsiteX1075" fmla="*/ 588473 w 5514975"/>
                  <a:gd name="connsiteY1075" fmla="*/ 1079170 h 5048250"/>
                  <a:gd name="connsiteX1076" fmla="*/ 567899 w 5514975"/>
                  <a:gd name="connsiteY1076" fmla="*/ 1067740 h 5048250"/>
                  <a:gd name="connsiteX1077" fmla="*/ 568184 w 5514975"/>
                  <a:gd name="connsiteY1077" fmla="*/ 1090981 h 5048250"/>
                  <a:gd name="connsiteX1078" fmla="*/ 609523 w 5514975"/>
                  <a:gd name="connsiteY1078" fmla="*/ 1202995 h 5048250"/>
                  <a:gd name="connsiteX1079" fmla="*/ 668769 w 5514975"/>
                  <a:gd name="connsiteY1079" fmla="*/ 1258907 h 5048250"/>
                  <a:gd name="connsiteX1080" fmla="*/ 703535 w 5514975"/>
                  <a:gd name="connsiteY1080" fmla="*/ 1272433 h 5048250"/>
                  <a:gd name="connsiteX1081" fmla="*/ 725347 w 5514975"/>
                  <a:gd name="connsiteY1081" fmla="*/ 1282434 h 5048250"/>
                  <a:gd name="connsiteX1082" fmla="*/ 752874 w 5514975"/>
                  <a:gd name="connsiteY1082" fmla="*/ 1326725 h 5048250"/>
                  <a:gd name="connsiteX1083" fmla="*/ 790022 w 5514975"/>
                  <a:gd name="connsiteY1083" fmla="*/ 1394924 h 5048250"/>
                  <a:gd name="connsiteX1084" fmla="*/ 883176 w 5514975"/>
                  <a:gd name="connsiteY1084" fmla="*/ 1576756 h 5048250"/>
                  <a:gd name="connsiteX1085" fmla="*/ 895273 w 5514975"/>
                  <a:gd name="connsiteY1085" fmla="*/ 1600950 h 5048250"/>
                  <a:gd name="connsiteX1086" fmla="*/ 846791 w 5514975"/>
                  <a:gd name="connsiteY1086" fmla="*/ 1575232 h 5048250"/>
                  <a:gd name="connsiteX1087" fmla="*/ 773924 w 5514975"/>
                  <a:gd name="connsiteY1087" fmla="*/ 1552944 h 5048250"/>
                  <a:gd name="connsiteX1088" fmla="*/ 755541 w 5514975"/>
                  <a:gd name="connsiteY1088" fmla="*/ 1548562 h 5048250"/>
                  <a:gd name="connsiteX1089" fmla="*/ 747350 w 5514975"/>
                  <a:gd name="connsiteY1089" fmla="*/ 1535894 h 5048250"/>
                  <a:gd name="connsiteX1090" fmla="*/ 732586 w 5514975"/>
                  <a:gd name="connsiteY1090" fmla="*/ 1518940 h 5048250"/>
                  <a:gd name="connsiteX1091" fmla="*/ 674865 w 5514975"/>
                  <a:gd name="connsiteY1091" fmla="*/ 1476077 h 5048250"/>
                  <a:gd name="connsiteX1092" fmla="*/ 597045 w 5514975"/>
                  <a:gd name="connsiteY1092" fmla="*/ 1458456 h 5048250"/>
                  <a:gd name="connsiteX1093" fmla="*/ 539324 w 5514975"/>
                  <a:gd name="connsiteY1093" fmla="*/ 1464933 h 5048250"/>
                  <a:gd name="connsiteX1094" fmla="*/ 543991 w 5514975"/>
                  <a:gd name="connsiteY1094" fmla="*/ 1485888 h 5048250"/>
                  <a:gd name="connsiteX1095" fmla="*/ 564279 w 5514975"/>
                  <a:gd name="connsiteY1095" fmla="*/ 1515606 h 5048250"/>
                  <a:gd name="connsiteX1096" fmla="*/ 615714 w 5514975"/>
                  <a:gd name="connsiteY1096" fmla="*/ 1572089 h 5048250"/>
                  <a:gd name="connsiteX1097" fmla="*/ 696296 w 5514975"/>
                  <a:gd name="connsiteY1097" fmla="*/ 1597997 h 5048250"/>
                  <a:gd name="connsiteX1098" fmla="*/ 756303 w 5514975"/>
                  <a:gd name="connsiteY1098" fmla="*/ 1565517 h 5048250"/>
                  <a:gd name="connsiteX1099" fmla="*/ 801928 w 5514975"/>
                  <a:gd name="connsiteY1099" fmla="*/ 1572661 h 5048250"/>
                  <a:gd name="connsiteX1100" fmla="*/ 835551 w 5514975"/>
                  <a:gd name="connsiteY1100" fmla="*/ 1584948 h 5048250"/>
                  <a:gd name="connsiteX1101" fmla="*/ 875747 w 5514975"/>
                  <a:gd name="connsiteY1101" fmla="*/ 1604379 h 5048250"/>
                  <a:gd name="connsiteX1102" fmla="*/ 906703 w 5514975"/>
                  <a:gd name="connsiteY1102" fmla="*/ 1624191 h 5048250"/>
                  <a:gd name="connsiteX1103" fmla="*/ 916038 w 5514975"/>
                  <a:gd name="connsiteY1103" fmla="*/ 1645432 h 5048250"/>
                  <a:gd name="connsiteX1104" fmla="*/ 927086 w 5514975"/>
                  <a:gd name="connsiteY1104" fmla="*/ 1674007 h 5048250"/>
                  <a:gd name="connsiteX1105" fmla="*/ 944517 w 5514975"/>
                  <a:gd name="connsiteY1105" fmla="*/ 1728204 h 5048250"/>
                  <a:gd name="connsiteX1106" fmla="*/ 967472 w 5514975"/>
                  <a:gd name="connsiteY1106" fmla="*/ 1839551 h 5048250"/>
                  <a:gd name="connsiteX1107" fmla="*/ 991094 w 5514975"/>
                  <a:gd name="connsiteY1107" fmla="*/ 2050244 h 5048250"/>
                  <a:gd name="connsiteX1108" fmla="*/ 995857 w 5514975"/>
                  <a:gd name="connsiteY1108" fmla="*/ 2140541 h 5048250"/>
                  <a:gd name="connsiteX1109" fmla="*/ 988237 w 5514975"/>
                  <a:gd name="connsiteY1109" fmla="*/ 2230648 h 5048250"/>
                  <a:gd name="connsiteX1110" fmla="*/ 947184 w 5514975"/>
                  <a:gd name="connsiteY1110" fmla="*/ 2261223 h 5048250"/>
                  <a:gd name="connsiteX1111" fmla="*/ 929182 w 5514975"/>
                  <a:gd name="connsiteY1111" fmla="*/ 2245983 h 5048250"/>
                  <a:gd name="connsiteX1112" fmla="*/ 909942 w 5514975"/>
                  <a:gd name="connsiteY1112" fmla="*/ 2227124 h 5048250"/>
                  <a:gd name="connsiteX1113" fmla="*/ 879938 w 5514975"/>
                  <a:gd name="connsiteY1113" fmla="*/ 2183690 h 5048250"/>
                  <a:gd name="connsiteX1114" fmla="*/ 843647 w 5514975"/>
                  <a:gd name="connsiteY1114" fmla="*/ 2134255 h 5048250"/>
                  <a:gd name="connsiteX1115" fmla="*/ 784211 w 5514975"/>
                  <a:gd name="connsiteY1115" fmla="*/ 2065770 h 5048250"/>
                  <a:gd name="connsiteX1116" fmla="*/ 749922 w 5514975"/>
                  <a:gd name="connsiteY1116" fmla="*/ 2025860 h 5048250"/>
                  <a:gd name="connsiteX1117" fmla="*/ 719156 w 5514975"/>
                  <a:gd name="connsiteY1117" fmla="*/ 1984522 h 5048250"/>
                  <a:gd name="connsiteX1118" fmla="*/ 689342 w 5514975"/>
                  <a:gd name="connsiteY1118" fmla="*/ 1936325 h 5048250"/>
                  <a:gd name="connsiteX1119" fmla="*/ 684580 w 5514975"/>
                  <a:gd name="connsiteY1119" fmla="*/ 1927467 h 5048250"/>
                  <a:gd name="connsiteX1120" fmla="*/ 692200 w 5514975"/>
                  <a:gd name="connsiteY1120" fmla="*/ 1900225 h 5048250"/>
                  <a:gd name="connsiteX1121" fmla="*/ 712298 w 5514975"/>
                  <a:gd name="connsiteY1121" fmla="*/ 1800880 h 5048250"/>
                  <a:gd name="connsiteX1122" fmla="*/ 662863 w 5514975"/>
                  <a:gd name="connsiteY1122" fmla="*/ 1694676 h 5048250"/>
                  <a:gd name="connsiteX1123" fmla="*/ 639051 w 5514975"/>
                  <a:gd name="connsiteY1123" fmla="*/ 1670578 h 5048250"/>
                  <a:gd name="connsiteX1124" fmla="*/ 627621 w 5514975"/>
                  <a:gd name="connsiteY1124" fmla="*/ 1659529 h 5048250"/>
                  <a:gd name="connsiteX1125" fmla="*/ 618096 w 5514975"/>
                  <a:gd name="connsiteY1125" fmla="*/ 1675054 h 5048250"/>
                  <a:gd name="connsiteX1126" fmla="*/ 626763 w 5514975"/>
                  <a:gd name="connsiteY1126" fmla="*/ 1896415 h 5048250"/>
                  <a:gd name="connsiteX1127" fmla="*/ 672007 w 5514975"/>
                  <a:gd name="connsiteY1127" fmla="*/ 1935373 h 5048250"/>
                  <a:gd name="connsiteX1128" fmla="*/ 685151 w 5514975"/>
                  <a:gd name="connsiteY1128" fmla="*/ 1952708 h 5048250"/>
                  <a:gd name="connsiteX1129" fmla="*/ 706678 w 5514975"/>
                  <a:gd name="connsiteY1129" fmla="*/ 1985093 h 5048250"/>
                  <a:gd name="connsiteX1130" fmla="*/ 748302 w 5514975"/>
                  <a:gd name="connsiteY1130" fmla="*/ 2040243 h 5048250"/>
                  <a:gd name="connsiteX1131" fmla="*/ 791260 w 5514975"/>
                  <a:gd name="connsiteY1131" fmla="*/ 2101394 h 5048250"/>
                  <a:gd name="connsiteX1132" fmla="*/ 824312 w 5514975"/>
                  <a:gd name="connsiteY1132" fmla="*/ 2157686 h 5048250"/>
                  <a:gd name="connsiteX1133" fmla="*/ 832599 w 5514975"/>
                  <a:gd name="connsiteY1133" fmla="*/ 2175117 h 5048250"/>
                  <a:gd name="connsiteX1134" fmla="*/ 729062 w 5514975"/>
                  <a:gd name="connsiteY1134" fmla="*/ 2110061 h 5048250"/>
                  <a:gd name="connsiteX1135" fmla="*/ 665244 w 5514975"/>
                  <a:gd name="connsiteY1135" fmla="*/ 2083677 h 5048250"/>
                  <a:gd name="connsiteX1136" fmla="*/ 638288 w 5514975"/>
                  <a:gd name="connsiteY1136" fmla="*/ 2075104 h 5048250"/>
                  <a:gd name="connsiteX1137" fmla="*/ 620001 w 5514975"/>
                  <a:gd name="connsiteY1137" fmla="*/ 2069770 h 5048250"/>
                  <a:gd name="connsiteX1138" fmla="*/ 584949 w 5514975"/>
                  <a:gd name="connsiteY1138" fmla="*/ 2031956 h 5048250"/>
                  <a:gd name="connsiteX1139" fmla="*/ 557802 w 5514975"/>
                  <a:gd name="connsiteY1139" fmla="*/ 1989189 h 5048250"/>
                  <a:gd name="connsiteX1140" fmla="*/ 550278 w 5514975"/>
                  <a:gd name="connsiteY1140" fmla="*/ 1976902 h 5048250"/>
                  <a:gd name="connsiteX1141" fmla="*/ 548849 w 5514975"/>
                  <a:gd name="connsiteY1141" fmla="*/ 1965948 h 5048250"/>
                  <a:gd name="connsiteX1142" fmla="*/ 544086 w 5514975"/>
                  <a:gd name="connsiteY1142" fmla="*/ 1915180 h 5048250"/>
                  <a:gd name="connsiteX1143" fmla="*/ 522464 w 5514975"/>
                  <a:gd name="connsiteY1143" fmla="*/ 1868793 h 5048250"/>
                  <a:gd name="connsiteX1144" fmla="*/ 490365 w 5514975"/>
                  <a:gd name="connsiteY1144" fmla="*/ 1833455 h 5048250"/>
                  <a:gd name="connsiteX1145" fmla="*/ 411784 w 5514975"/>
                  <a:gd name="connsiteY1145" fmla="*/ 1778686 h 5048250"/>
                  <a:gd name="connsiteX1146" fmla="*/ 397592 w 5514975"/>
                  <a:gd name="connsiteY1146" fmla="*/ 1772114 h 5048250"/>
                  <a:gd name="connsiteX1147" fmla="*/ 372922 w 5514975"/>
                  <a:gd name="connsiteY1147" fmla="*/ 1764780 h 5048250"/>
                  <a:gd name="connsiteX1148" fmla="*/ 376732 w 5514975"/>
                  <a:gd name="connsiteY1148" fmla="*/ 1786211 h 5048250"/>
                  <a:gd name="connsiteX1149" fmla="*/ 382256 w 5514975"/>
                  <a:gd name="connsiteY1149" fmla="*/ 1811452 h 5048250"/>
                  <a:gd name="connsiteX1150" fmla="*/ 419309 w 5514975"/>
                  <a:gd name="connsiteY1150" fmla="*/ 1926324 h 5048250"/>
                  <a:gd name="connsiteX1151" fmla="*/ 464267 w 5514975"/>
                  <a:gd name="connsiteY1151" fmla="*/ 1971091 h 5048250"/>
                  <a:gd name="connsiteX1152" fmla="*/ 531418 w 5514975"/>
                  <a:gd name="connsiteY1152" fmla="*/ 1977568 h 5048250"/>
                  <a:gd name="connsiteX1153" fmla="*/ 543705 w 5514975"/>
                  <a:gd name="connsiteY1153" fmla="*/ 1986998 h 5048250"/>
                  <a:gd name="connsiteX1154" fmla="*/ 551516 w 5514975"/>
                  <a:gd name="connsiteY1154" fmla="*/ 1999666 h 5048250"/>
                  <a:gd name="connsiteX1155" fmla="*/ 559040 w 5514975"/>
                  <a:gd name="connsiteY1155" fmla="*/ 2011763 h 5048250"/>
                  <a:gd name="connsiteX1156" fmla="*/ 594569 w 5514975"/>
                  <a:gd name="connsiteY1156" fmla="*/ 2063579 h 5048250"/>
                  <a:gd name="connsiteX1157" fmla="*/ 570185 w 5514975"/>
                  <a:gd name="connsiteY1157" fmla="*/ 2057483 h 5048250"/>
                  <a:gd name="connsiteX1158" fmla="*/ 538085 w 5514975"/>
                  <a:gd name="connsiteY1158" fmla="*/ 2048911 h 5048250"/>
                  <a:gd name="connsiteX1159" fmla="*/ 497985 w 5514975"/>
                  <a:gd name="connsiteY1159" fmla="*/ 2037290 h 5048250"/>
                  <a:gd name="connsiteX1160" fmla="*/ 396639 w 5514975"/>
                  <a:gd name="connsiteY1160" fmla="*/ 1997190 h 5048250"/>
                  <a:gd name="connsiteX1161" fmla="*/ 370064 w 5514975"/>
                  <a:gd name="connsiteY1161" fmla="*/ 1980997 h 5048250"/>
                  <a:gd name="connsiteX1162" fmla="*/ 356158 w 5514975"/>
                  <a:gd name="connsiteY1162" fmla="*/ 1971663 h 5048250"/>
                  <a:gd name="connsiteX1163" fmla="*/ 339965 w 5514975"/>
                  <a:gd name="connsiteY1163" fmla="*/ 1956994 h 5048250"/>
                  <a:gd name="connsiteX1164" fmla="*/ 337775 w 5514975"/>
                  <a:gd name="connsiteY1164" fmla="*/ 1934325 h 5048250"/>
                  <a:gd name="connsiteX1165" fmla="*/ 336155 w 5514975"/>
                  <a:gd name="connsiteY1165" fmla="*/ 1900702 h 5048250"/>
                  <a:gd name="connsiteX1166" fmla="*/ 247478 w 5514975"/>
                  <a:gd name="connsiteY1166" fmla="*/ 1779734 h 5048250"/>
                  <a:gd name="connsiteX1167" fmla="*/ 192518 w 5514975"/>
                  <a:gd name="connsiteY1167" fmla="*/ 1766685 h 5048250"/>
                  <a:gd name="connsiteX1168" fmla="*/ 167849 w 5514975"/>
                  <a:gd name="connsiteY1168" fmla="*/ 1765447 h 5048250"/>
                  <a:gd name="connsiteX1169" fmla="*/ 142703 w 5514975"/>
                  <a:gd name="connsiteY1169" fmla="*/ 1769066 h 5048250"/>
                  <a:gd name="connsiteX1170" fmla="*/ 153752 w 5514975"/>
                  <a:gd name="connsiteY1170" fmla="*/ 1795831 h 5048250"/>
                  <a:gd name="connsiteX1171" fmla="*/ 167563 w 5514975"/>
                  <a:gd name="connsiteY1171" fmla="*/ 1827264 h 5048250"/>
                  <a:gd name="connsiteX1172" fmla="*/ 199472 w 5514975"/>
                  <a:gd name="connsiteY1172" fmla="*/ 1888319 h 5048250"/>
                  <a:gd name="connsiteX1173" fmla="*/ 262908 w 5514975"/>
                  <a:gd name="connsiteY1173" fmla="*/ 1943183 h 5048250"/>
                  <a:gd name="connsiteX1174" fmla="*/ 288054 w 5514975"/>
                  <a:gd name="connsiteY1174" fmla="*/ 1952137 h 5048250"/>
                  <a:gd name="connsiteX1175" fmla="*/ 321201 w 5514975"/>
                  <a:gd name="connsiteY1175" fmla="*/ 1958042 h 5048250"/>
                  <a:gd name="connsiteX1176" fmla="*/ 334822 w 5514975"/>
                  <a:gd name="connsiteY1176" fmla="*/ 1968329 h 5048250"/>
                  <a:gd name="connsiteX1177" fmla="*/ 357110 w 5514975"/>
                  <a:gd name="connsiteY1177" fmla="*/ 1987665 h 5048250"/>
                  <a:gd name="connsiteX1178" fmla="*/ 425405 w 5514975"/>
                  <a:gd name="connsiteY1178" fmla="*/ 2024241 h 5048250"/>
                  <a:gd name="connsiteX1179" fmla="*/ 554468 w 5514975"/>
                  <a:gd name="connsiteY1179" fmla="*/ 2069389 h 5048250"/>
                  <a:gd name="connsiteX1180" fmla="*/ 608570 w 5514975"/>
                  <a:gd name="connsiteY1180" fmla="*/ 2083867 h 5048250"/>
                  <a:gd name="connsiteX1181" fmla="*/ 656481 w 5514975"/>
                  <a:gd name="connsiteY1181" fmla="*/ 2102727 h 5048250"/>
                  <a:gd name="connsiteX1182" fmla="*/ 678198 w 5514975"/>
                  <a:gd name="connsiteY1182" fmla="*/ 2110347 h 5048250"/>
                  <a:gd name="connsiteX1183" fmla="*/ 653528 w 5514975"/>
                  <a:gd name="connsiteY1183" fmla="*/ 2113871 h 5048250"/>
                  <a:gd name="connsiteX1184" fmla="*/ 614190 w 5514975"/>
                  <a:gd name="connsiteY1184" fmla="*/ 2121872 h 5048250"/>
                  <a:gd name="connsiteX1185" fmla="*/ 581615 w 5514975"/>
                  <a:gd name="connsiteY1185" fmla="*/ 2133588 h 5048250"/>
                  <a:gd name="connsiteX1186" fmla="*/ 570947 w 5514975"/>
                  <a:gd name="connsiteY1186" fmla="*/ 2137588 h 5048250"/>
                  <a:gd name="connsiteX1187" fmla="*/ 551516 w 5514975"/>
                  <a:gd name="connsiteY1187" fmla="*/ 2145304 h 5048250"/>
                  <a:gd name="connsiteX1188" fmla="*/ 542753 w 5514975"/>
                  <a:gd name="connsiteY1188" fmla="*/ 2139589 h 5048250"/>
                  <a:gd name="connsiteX1189" fmla="*/ 532275 w 5514975"/>
                  <a:gd name="connsiteY1189" fmla="*/ 2134255 h 5048250"/>
                  <a:gd name="connsiteX1190" fmla="*/ 496556 w 5514975"/>
                  <a:gd name="connsiteY1190" fmla="*/ 2126349 h 5048250"/>
                  <a:gd name="connsiteX1191" fmla="*/ 418261 w 5514975"/>
                  <a:gd name="connsiteY1191" fmla="*/ 2150066 h 5048250"/>
                  <a:gd name="connsiteX1192" fmla="*/ 337584 w 5514975"/>
                  <a:gd name="connsiteY1192" fmla="*/ 2209693 h 5048250"/>
                  <a:gd name="connsiteX1193" fmla="*/ 314058 w 5514975"/>
                  <a:gd name="connsiteY1193" fmla="*/ 2235124 h 5048250"/>
                  <a:gd name="connsiteX1194" fmla="*/ 299579 w 5514975"/>
                  <a:gd name="connsiteY1194" fmla="*/ 2257127 h 5048250"/>
                  <a:gd name="connsiteX1195" fmla="*/ 314819 w 5514975"/>
                  <a:gd name="connsiteY1195" fmla="*/ 2262175 h 5048250"/>
                  <a:gd name="connsiteX1196" fmla="*/ 339394 w 5514975"/>
                  <a:gd name="connsiteY1196" fmla="*/ 2268748 h 5048250"/>
                  <a:gd name="connsiteX1197" fmla="*/ 479792 w 5514975"/>
                  <a:gd name="connsiteY1197" fmla="*/ 2259794 h 5048250"/>
                  <a:gd name="connsiteX1198" fmla="*/ 546944 w 5514975"/>
                  <a:gd name="connsiteY1198" fmla="*/ 2191976 h 5048250"/>
                  <a:gd name="connsiteX1199" fmla="*/ 559517 w 5514975"/>
                  <a:gd name="connsiteY1199" fmla="*/ 2163115 h 5048250"/>
                  <a:gd name="connsiteX1200" fmla="*/ 562469 w 5514975"/>
                  <a:gd name="connsiteY1200" fmla="*/ 2156924 h 5048250"/>
                  <a:gd name="connsiteX1201" fmla="*/ 571613 w 5514975"/>
                  <a:gd name="connsiteY1201" fmla="*/ 2151876 h 5048250"/>
                  <a:gd name="connsiteX1202" fmla="*/ 629526 w 5514975"/>
                  <a:gd name="connsiteY1202" fmla="*/ 2131874 h 5048250"/>
                  <a:gd name="connsiteX1203" fmla="*/ 697344 w 5514975"/>
                  <a:gd name="connsiteY1203" fmla="*/ 2124825 h 5048250"/>
                  <a:gd name="connsiteX1204" fmla="*/ 712679 w 5514975"/>
                  <a:gd name="connsiteY1204" fmla="*/ 2127587 h 5048250"/>
                  <a:gd name="connsiteX1205" fmla="*/ 728395 w 5514975"/>
                  <a:gd name="connsiteY1205" fmla="*/ 2136922 h 5048250"/>
                  <a:gd name="connsiteX1206" fmla="*/ 753732 w 5514975"/>
                  <a:gd name="connsiteY1206" fmla="*/ 2152257 h 5048250"/>
                  <a:gd name="connsiteX1207" fmla="*/ 827741 w 5514975"/>
                  <a:gd name="connsiteY1207" fmla="*/ 2209026 h 5048250"/>
                  <a:gd name="connsiteX1208" fmla="*/ 856506 w 5514975"/>
                  <a:gd name="connsiteY1208" fmla="*/ 2240363 h 5048250"/>
                  <a:gd name="connsiteX1209" fmla="*/ 890796 w 5514975"/>
                  <a:gd name="connsiteY1209" fmla="*/ 2303419 h 5048250"/>
                  <a:gd name="connsiteX1210" fmla="*/ 946613 w 5514975"/>
                  <a:gd name="connsiteY1210" fmla="*/ 2491156 h 5048250"/>
                  <a:gd name="connsiteX1211" fmla="*/ 967092 w 5514975"/>
                  <a:gd name="connsiteY1211" fmla="*/ 2704421 h 5048250"/>
                  <a:gd name="connsiteX1212" fmla="*/ 971663 w 5514975"/>
                  <a:gd name="connsiteY1212" fmla="*/ 2902922 h 5048250"/>
                  <a:gd name="connsiteX1213" fmla="*/ 972044 w 5514975"/>
                  <a:gd name="connsiteY1213" fmla="*/ 3005030 h 5048250"/>
                  <a:gd name="connsiteX1214" fmla="*/ 963567 w 5514975"/>
                  <a:gd name="connsiteY1214" fmla="*/ 3148477 h 5048250"/>
                  <a:gd name="connsiteX1215" fmla="*/ 956328 w 5514975"/>
                  <a:gd name="connsiteY1215" fmla="*/ 3215819 h 5048250"/>
                  <a:gd name="connsiteX1216" fmla="*/ 947851 w 5514975"/>
                  <a:gd name="connsiteY1216" fmla="*/ 3277255 h 5048250"/>
                  <a:gd name="connsiteX1217" fmla="*/ 910513 w 5514975"/>
                  <a:gd name="connsiteY1217" fmla="*/ 3340215 h 5048250"/>
                  <a:gd name="connsiteX1218" fmla="*/ 883748 w 5514975"/>
                  <a:gd name="connsiteY1218" fmla="*/ 3344501 h 5048250"/>
                  <a:gd name="connsiteX1219" fmla="*/ 662387 w 5514975"/>
                  <a:gd name="connsiteY1219" fmla="*/ 3159145 h 5048250"/>
                  <a:gd name="connsiteX1220" fmla="*/ 646575 w 5514975"/>
                  <a:gd name="connsiteY1220" fmla="*/ 3143714 h 5048250"/>
                  <a:gd name="connsiteX1221" fmla="*/ 644670 w 5514975"/>
                  <a:gd name="connsiteY1221" fmla="*/ 3140380 h 5048250"/>
                  <a:gd name="connsiteX1222" fmla="*/ 651338 w 5514975"/>
                  <a:gd name="connsiteY1222" fmla="*/ 3131713 h 5048250"/>
                  <a:gd name="connsiteX1223" fmla="*/ 659910 w 5514975"/>
                  <a:gd name="connsiteY1223" fmla="*/ 3119902 h 5048250"/>
                  <a:gd name="connsiteX1224" fmla="*/ 697153 w 5514975"/>
                  <a:gd name="connsiteY1224" fmla="*/ 3061323 h 5048250"/>
                  <a:gd name="connsiteX1225" fmla="*/ 718203 w 5514975"/>
                  <a:gd name="connsiteY1225" fmla="*/ 3003030 h 5048250"/>
                  <a:gd name="connsiteX1226" fmla="*/ 724585 w 5514975"/>
                  <a:gd name="connsiteY1226" fmla="*/ 2980265 h 5048250"/>
                  <a:gd name="connsiteX1227" fmla="*/ 731824 w 5514975"/>
                  <a:gd name="connsiteY1227" fmla="*/ 2946070 h 5048250"/>
                  <a:gd name="connsiteX1228" fmla="*/ 738111 w 5514975"/>
                  <a:gd name="connsiteY1228" fmla="*/ 2937022 h 5048250"/>
                  <a:gd name="connsiteX1229" fmla="*/ 753065 w 5514975"/>
                  <a:gd name="connsiteY1229" fmla="*/ 2910352 h 5048250"/>
                  <a:gd name="connsiteX1230" fmla="*/ 764209 w 5514975"/>
                  <a:gd name="connsiteY1230" fmla="*/ 2837009 h 5048250"/>
                  <a:gd name="connsiteX1231" fmla="*/ 694391 w 5514975"/>
                  <a:gd name="connsiteY1231" fmla="*/ 2693277 h 5048250"/>
                  <a:gd name="connsiteX1232" fmla="*/ 678770 w 5514975"/>
                  <a:gd name="connsiteY1232" fmla="*/ 2676703 h 5048250"/>
                  <a:gd name="connsiteX1233" fmla="*/ 666959 w 5514975"/>
                  <a:gd name="connsiteY1233" fmla="*/ 2676418 h 5048250"/>
                  <a:gd name="connsiteX1234" fmla="*/ 660005 w 5514975"/>
                  <a:gd name="connsiteY1234" fmla="*/ 2701278 h 5048250"/>
                  <a:gd name="connsiteX1235" fmla="*/ 653433 w 5514975"/>
                  <a:gd name="connsiteY1235" fmla="*/ 2728710 h 5048250"/>
                  <a:gd name="connsiteX1236" fmla="*/ 640574 w 5514975"/>
                  <a:gd name="connsiteY1236" fmla="*/ 2835771 h 5048250"/>
                  <a:gd name="connsiteX1237" fmla="*/ 665530 w 5514975"/>
                  <a:gd name="connsiteY1237" fmla="*/ 2911780 h 5048250"/>
                  <a:gd name="connsiteX1238" fmla="*/ 692867 w 5514975"/>
                  <a:gd name="connsiteY1238" fmla="*/ 2937974 h 5048250"/>
                  <a:gd name="connsiteX1239" fmla="*/ 710393 w 5514975"/>
                  <a:gd name="connsiteY1239" fmla="*/ 2946166 h 5048250"/>
                  <a:gd name="connsiteX1240" fmla="*/ 713631 w 5514975"/>
                  <a:gd name="connsiteY1240" fmla="*/ 2952357 h 5048250"/>
                  <a:gd name="connsiteX1241" fmla="*/ 712679 w 5514975"/>
                  <a:gd name="connsiteY1241" fmla="*/ 2963882 h 5048250"/>
                  <a:gd name="connsiteX1242" fmla="*/ 674484 w 5514975"/>
                  <a:gd name="connsiteY1242" fmla="*/ 3066943 h 5048250"/>
                  <a:gd name="connsiteX1243" fmla="*/ 646385 w 5514975"/>
                  <a:gd name="connsiteY1243" fmla="*/ 3110281 h 5048250"/>
                  <a:gd name="connsiteX1244" fmla="*/ 630192 w 5514975"/>
                  <a:gd name="connsiteY1244" fmla="*/ 3126664 h 5048250"/>
                  <a:gd name="connsiteX1245" fmla="*/ 619810 w 5514975"/>
                  <a:gd name="connsiteY1245" fmla="*/ 3116663 h 5048250"/>
                  <a:gd name="connsiteX1246" fmla="*/ 557707 w 5514975"/>
                  <a:gd name="connsiteY1246" fmla="*/ 3047893 h 5048250"/>
                  <a:gd name="connsiteX1247" fmla="*/ 452170 w 5514975"/>
                  <a:gd name="connsiteY1247" fmla="*/ 2905018 h 5048250"/>
                  <a:gd name="connsiteX1248" fmla="*/ 375875 w 5514975"/>
                  <a:gd name="connsiteY1248" fmla="*/ 2712136 h 5048250"/>
                  <a:gd name="connsiteX1249" fmla="*/ 363683 w 5514975"/>
                  <a:gd name="connsiteY1249" fmla="*/ 2641080 h 5048250"/>
                  <a:gd name="connsiteX1250" fmla="*/ 359682 w 5514975"/>
                  <a:gd name="connsiteY1250" fmla="*/ 2605266 h 5048250"/>
                  <a:gd name="connsiteX1251" fmla="*/ 364635 w 5514975"/>
                  <a:gd name="connsiteY1251" fmla="*/ 2595360 h 5048250"/>
                  <a:gd name="connsiteX1252" fmla="*/ 372541 w 5514975"/>
                  <a:gd name="connsiteY1252" fmla="*/ 2573643 h 5048250"/>
                  <a:gd name="connsiteX1253" fmla="*/ 367207 w 5514975"/>
                  <a:gd name="connsiteY1253" fmla="*/ 2493061 h 5048250"/>
                  <a:gd name="connsiteX1254" fmla="*/ 315772 w 5514975"/>
                  <a:gd name="connsiteY1254" fmla="*/ 2442103 h 5048250"/>
                  <a:gd name="connsiteX1255" fmla="*/ 288911 w 5514975"/>
                  <a:gd name="connsiteY1255" fmla="*/ 2425434 h 5048250"/>
                  <a:gd name="connsiteX1256" fmla="*/ 268814 w 5514975"/>
                  <a:gd name="connsiteY1256" fmla="*/ 2418957 h 5048250"/>
                  <a:gd name="connsiteX1257" fmla="*/ 252240 w 5514975"/>
                  <a:gd name="connsiteY1257" fmla="*/ 2411908 h 5048250"/>
                  <a:gd name="connsiteX1258" fmla="*/ 246239 w 5514975"/>
                  <a:gd name="connsiteY1258" fmla="*/ 2408384 h 5048250"/>
                  <a:gd name="connsiteX1259" fmla="*/ 239762 w 5514975"/>
                  <a:gd name="connsiteY1259" fmla="*/ 2426196 h 5048250"/>
                  <a:gd name="connsiteX1260" fmla="*/ 266337 w 5514975"/>
                  <a:gd name="connsiteY1260" fmla="*/ 2566404 h 5048250"/>
                  <a:gd name="connsiteX1261" fmla="*/ 302151 w 5514975"/>
                  <a:gd name="connsiteY1261" fmla="*/ 2604885 h 5048250"/>
                  <a:gd name="connsiteX1262" fmla="*/ 320249 w 5514975"/>
                  <a:gd name="connsiteY1262" fmla="*/ 2615458 h 5048250"/>
                  <a:gd name="connsiteX1263" fmla="*/ 343966 w 5514975"/>
                  <a:gd name="connsiteY1263" fmla="*/ 2619935 h 5048250"/>
                  <a:gd name="connsiteX1264" fmla="*/ 347585 w 5514975"/>
                  <a:gd name="connsiteY1264" fmla="*/ 2658035 h 5048250"/>
                  <a:gd name="connsiteX1265" fmla="*/ 354539 w 5514975"/>
                  <a:gd name="connsiteY1265" fmla="*/ 2696325 h 5048250"/>
                  <a:gd name="connsiteX1266" fmla="*/ 389781 w 5514975"/>
                  <a:gd name="connsiteY1266" fmla="*/ 2810435 h 5048250"/>
                  <a:gd name="connsiteX1267" fmla="*/ 373017 w 5514975"/>
                  <a:gd name="connsiteY1267" fmla="*/ 2803862 h 5048250"/>
                  <a:gd name="connsiteX1268" fmla="*/ 345014 w 5514975"/>
                  <a:gd name="connsiteY1268" fmla="*/ 2797100 h 5048250"/>
                  <a:gd name="connsiteX1269" fmla="*/ 325964 w 5514975"/>
                  <a:gd name="connsiteY1269" fmla="*/ 2776145 h 5048250"/>
                  <a:gd name="connsiteX1270" fmla="*/ 259765 w 5514975"/>
                  <a:gd name="connsiteY1270" fmla="*/ 2716042 h 5048250"/>
                  <a:gd name="connsiteX1271" fmla="*/ 247192 w 5514975"/>
                  <a:gd name="connsiteY1271" fmla="*/ 2709184 h 5048250"/>
                  <a:gd name="connsiteX1272" fmla="*/ 239477 w 5514975"/>
                  <a:gd name="connsiteY1272" fmla="*/ 2706136 h 5048250"/>
                  <a:gd name="connsiteX1273" fmla="*/ 237095 w 5514975"/>
                  <a:gd name="connsiteY1273" fmla="*/ 2693086 h 5048250"/>
                  <a:gd name="connsiteX1274" fmla="*/ 230428 w 5514975"/>
                  <a:gd name="connsiteY1274" fmla="*/ 2667560 h 5048250"/>
                  <a:gd name="connsiteX1275" fmla="*/ 181469 w 5514975"/>
                  <a:gd name="connsiteY1275" fmla="*/ 2596027 h 5048250"/>
                  <a:gd name="connsiteX1276" fmla="*/ 107174 w 5514975"/>
                  <a:gd name="connsiteY1276" fmla="*/ 2550593 h 5048250"/>
                  <a:gd name="connsiteX1277" fmla="*/ 78504 w 5514975"/>
                  <a:gd name="connsiteY1277" fmla="*/ 2535067 h 5048250"/>
                  <a:gd name="connsiteX1278" fmla="*/ 75456 w 5514975"/>
                  <a:gd name="connsiteY1278" fmla="*/ 2548783 h 5048250"/>
                  <a:gd name="connsiteX1279" fmla="*/ 182041 w 5514975"/>
                  <a:gd name="connsiteY1279" fmla="*/ 2717566 h 5048250"/>
                  <a:gd name="connsiteX1280" fmla="*/ 229666 w 5514975"/>
                  <a:gd name="connsiteY1280" fmla="*/ 2721757 h 5048250"/>
                  <a:gd name="connsiteX1281" fmla="*/ 270242 w 5514975"/>
                  <a:gd name="connsiteY1281" fmla="*/ 2739759 h 5048250"/>
                  <a:gd name="connsiteX1282" fmla="*/ 316820 w 5514975"/>
                  <a:gd name="connsiteY1282" fmla="*/ 2794718 h 5048250"/>
                  <a:gd name="connsiteX1283" fmla="*/ 294626 w 5514975"/>
                  <a:gd name="connsiteY1283" fmla="*/ 2793670 h 5048250"/>
                  <a:gd name="connsiteX1284" fmla="*/ 284054 w 5514975"/>
                  <a:gd name="connsiteY1284" fmla="*/ 2793766 h 5048250"/>
                  <a:gd name="connsiteX1285" fmla="*/ 254240 w 5514975"/>
                  <a:gd name="connsiteY1285" fmla="*/ 2791480 h 5048250"/>
                  <a:gd name="connsiteX1286" fmla="*/ 211568 w 5514975"/>
                  <a:gd name="connsiteY1286" fmla="*/ 2767762 h 5048250"/>
                  <a:gd name="connsiteX1287" fmla="*/ 173564 w 5514975"/>
                  <a:gd name="connsiteY1287" fmla="*/ 2762905 h 5048250"/>
                  <a:gd name="connsiteX1288" fmla="*/ 29355 w 5514975"/>
                  <a:gd name="connsiteY1288" fmla="*/ 2810244 h 5048250"/>
                  <a:gd name="connsiteX1289" fmla="*/ 16973 w 5514975"/>
                  <a:gd name="connsiteY1289" fmla="*/ 2819102 h 5048250"/>
                  <a:gd name="connsiteX1290" fmla="*/ 7257 w 5514975"/>
                  <a:gd name="connsiteY1290" fmla="*/ 2827294 h 5048250"/>
                  <a:gd name="connsiteX1291" fmla="*/ 29546 w 5514975"/>
                  <a:gd name="connsiteY1291" fmla="*/ 2847677 h 5048250"/>
                  <a:gd name="connsiteX1292" fmla="*/ 112318 w 5514975"/>
                  <a:gd name="connsiteY1292" fmla="*/ 2885777 h 5048250"/>
                  <a:gd name="connsiteX1293" fmla="*/ 201186 w 5514975"/>
                  <a:gd name="connsiteY1293" fmla="*/ 2867680 h 5048250"/>
                  <a:gd name="connsiteX1294" fmla="*/ 253764 w 5514975"/>
                  <a:gd name="connsiteY1294" fmla="*/ 2821103 h 5048250"/>
                  <a:gd name="connsiteX1295" fmla="*/ 306247 w 5514975"/>
                  <a:gd name="connsiteY1295" fmla="*/ 2807196 h 5048250"/>
                  <a:gd name="connsiteX1296" fmla="*/ 363492 w 5514975"/>
                  <a:gd name="connsiteY1296" fmla="*/ 2818245 h 5048250"/>
                  <a:gd name="connsiteX1297" fmla="*/ 401021 w 5514975"/>
                  <a:gd name="connsiteY1297" fmla="*/ 2840819 h 5048250"/>
                  <a:gd name="connsiteX1298" fmla="*/ 415975 w 5514975"/>
                  <a:gd name="connsiteY1298" fmla="*/ 2866251 h 5048250"/>
                  <a:gd name="connsiteX1299" fmla="*/ 451979 w 5514975"/>
                  <a:gd name="connsiteY1299" fmla="*/ 2928449 h 5048250"/>
                  <a:gd name="connsiteX1300" fmla="*/ 503414 w 5514975"/>
                  <a:gd name="connsiteY1300" fmla="*/ 3007030 h 5048250"/>
                  <a:gd name="connsiteX1301" fmla="*/ 601998 w 5514975"/>
                  <a:gd name="connsiteY1301" fmla="*/ 3142381 h 5048250"/>
                  <a:gd name="connsiteX1302" fmla="*/ 766781 w 5514975"/>
                  <a:gd name="connsiteY1302" fmla="*/ 3397651 h 5048250"/>
                  <a:gd name="connsiteX1303" fmla="*/ 780021 w 5514975"/>
                  <a:gd name="connsiteY1303" fmla="*/ 3424035 h 5048250"/>
                  <a:gd name="connsiteX1304" fmla="*/ 643718 w 5514975"/>
                  <a:gd name="connsiteY1304" fmla="*/ 3402604 h 5048250"/>
                  <a:gd name="connsiteX1305" fmla="*/ 605523 w 5514975"/>
                  <a:gd name="connsiteY1305" fmla="*/ 3389936 h 5048250"/>
                  <a:gd name="connsiteX1306" fmla="*/ 589425 w 5514975"/>
                  <a:gd name="connsiteY1306" fmla="*/ 3381649 h 5048250"/>
                  <a:gd name="connsiteX1307" fmla="*/ 569042 w 5514975"/>
                  <a:gd name="connsiteY1307" fmla="*/ 3369933 h 5048250"/>
                  <a:gd name="connsiteX1308" fmla="*/ 567137 w 5514975"/>
                  <a:gd name="connsiteY1308" fmla="*/ 3359836 h 5048250"/>
                  <a:gd name="connsiteX1309" fmla="*/ 564565 w 5514975"/>
                  <a:gd name="connsiteY1309" fmla="*/ 3350502 h 5048250"/>
                  <a:gd name="connsiteX1310" fmla="*/ 556469 w 5514975"/>
                  <a:gd name="connsiteY1310" fmla="*/ 3321260 h 5048250"/>
                  <a:gd name="connsiteX1311" fmla="*/ 527417 w 5514975"/>
                  <a:gd name="connsiteY1311" fmla="*/ 3274111 h 5048250"/>
                  <a:gd name="connsiteX1312" fmla="*/ 485508 w 5514975"/>
                  <a:gd name="connsiteY1312" fmla="*/ 3244298 h 5048250"/>
                  <a:gd name="connsiteX1313" fmla="*/ 404354 w 5514975"/>
                  <a:gd name="connsiteY1313" fmla="*/ 3220771 h 5048250"/>
                  <a:gd name="connsiteX1314" fmla="*/ 372731 w 5514975"/>
                  <a:gd name="connsiteY1314" fmla="*/ 3217914 h 5048250"/>
                  <a:gd name="connsiteX1315" fmla="*/ 355586 w 5514975"/>
                  <a:gd name="connsiteY1315" fmla="*/ 3216866 h 5048250"/>
                  <a:gd name="connsiteX1316" fmla="*/ 344156 w 5514975"/>
                  <a:gd name="connsiteY1316" fmla="*/ 3216580 h 5048250"/>
                  <a:gd name="connsiteX1317" fmla="*/ 353777 w 5514975"/>
                  <a:gd name="connsiteY1317" fmla="*/ 3251061 h 5048250"/>
                  <a:gd name="connsiteX1318" fmla="*/ 374446 w 5514975"/>
                  <a:gd name="connsiteY1318" fmla="*/ 3292495 h 5048250"/>
                  <a:gd name="connsiteX1319" fmla="*/ 414070 w 5514975"/>
                  <a:gd name="connsiteY1319" fmla="*/ 3344120 h 5048250"/>
                  <a:gd name="connsiteX1320" fmla="*/ 543419 w 5514975"/>
                  <a:gd name="connsiteY1320" fmla="*/ 3391936 h 5048250"/>
                  <a:gd name="connsiteX1321" fmla="*/ 558088 w 5514975"/>
                  <a:gd name="connsiteY1321" fmla="*/ 3386602 h 5048250"/>
                  <a:gd name="connsiteX1322" fmla="*/ 567423 w 5514975"/>
                  <a:gd name="connsiteY1322" fmla="*/ 3385268 h 5048250"/>
                  <a:gd name="connsiteX1323" fmla="*/ 575328 w 5514975"/>
                  <a:gd name="connsiteY1323" fmla="*/ 3389650 h 5048250"/>
                  <a:gd name="connsiteX1324" fmla="*/ 613524 w 5514975"/>
                  <a:gd name="connsiteY1324" fmla="*/ 3407366 h 5048250"/>
                  <a:gd name="connsiteX1325" fmla="*/ 694867 w 5514975"/>
                  <a:gd name="connsiteY1325" fmla="*/ 3430417 h 5048250"/>
                  <a:gd name="connsiteX1326" fmla="*/ 747921 w 5514975"/>
                  <a:gd name="connsiteY1326" fmla="*/ 3438227 h 5048250"/>
                  <a:gd name="connsiteX1327" fmla="*/ 779544 w 5514975"/>
                  <a:gd name="connsiteY1327" fmla="*/ 3441752 h 5048250"/>
                  <a:gd name="connsiteX1328" fmla="*/ 791451 w 5514975"/>
                  <a:gd name="connsiteY1328" fmla="*/ 3446609 h 5048250"/>
                  <a:gd name="connsiteX1329" fmla="*/ 835456 w 5514975"/>
                  <a:gd name="connsiteY1329" fmla="*/ 3559957 h 5048250"/>
                  <a:gd name="connsiteX1330" fmla="*/ 856030 w 5514975"/>
                  <a:gd name="connsiteY1330" fmla="*/ 3635490 h 5048250"/>
                  <a:gd name="connsiteX1331" fmla="*/ 876985 w 5514975"/>
                  <a:gd name="connsiteY1331" fmla="*/ 3719310 h 5048250"/>
                  <a:gd name="connsiteX1332" fmla="*/ 896130 w 5514975"/>
                  <a:gd name="connsiteY1332" fmla="*/ 3837039 h 5048250"/>
                  <a:gd name="connsiteX1333" fmla="*/ 907465 w 5514975"/>
                  <a:gd name="connsiteY1333" fmla="*/ 3990677 h 5048250"/>
                  <a:gd name="connsiteX1334" fmla="*/ 912132 w 5514975"/>
                  <a:gd name="connsiteY1334" fmla="*/ 4153650 h 5048250"/>
                  <a:gd name="connsiteX1335" fmla="*/ 909180 w 5514975"/>
                  <a:gd name="connsiteY1335" fmla="*/ 4272236 h 5048250"/>
                  <a:gd name="connsiteX1336" fmla="*/ 899655 w 5514975"/>
                  <a:gd name="connsiteY1336" fmla="*/ 4434447 h 5048250"/>
                  <a:gd name="connsiteX1337" fmla="*/ 808881 w 5514975"/>
                  <a:gd name="connsiteY1337" fmla="*/ 4782777 h 5048250"/>
                  <a:gd name="connsiteX1338" fmla="*/ 739634 w 5514975"/>
                  <a:gd name="connsiteY1338" fmla="*/ 4902887 h 5048250"/>
                  <a:gd name="connsiteX1339" fmla="*/ 724490 w 5514975"/>
                  <a:gd name="connsiteY1339" fmla="*/ 4922984 h 5048250"/>
                  <a:gd name="connsiteX1340" fmla="*/ 692867 w 5514975"/>
                  <a:gd name="connsiteY1340" fmla="*/ 4955369 h 5048250"/>
                  <a:gd name="connsiteX1341" fmla="*/ 667435 w 5514975"/>
                  <a:gd name="connsiteY1341" fmla="*/ 4979753 h 5048250"/>
                  <a:gd name="connsiteX1342" fmla="*/ 644670 w 5514975"/>
                  <a:gd name="connsiteY1342" fmla="*/ 5014329 h 5048250"/>
                  <a:gd name="connsiteX1343" fmla="*/ 669435 w 5514975"/>
                  <a:gd name="connsiteY1343" fmla="*/ 5023854 h 5048250"/>
                  <a:gd name="connsiteX1344" fmla="*/ 706297 w 5514975"/>
                  <a:gd name="connsiteY1344" fmla="*/ 5002137 h 5048250"/>
                  <a:gd name="connsiteX1345" fmla="*/ 870984 w 5514975"/>
                  <a:gd name="connsiteY1345" fmla="*/ 4909554 h 5048250"/>
                  <a:gd name="connsiteX1346" fmla="*/ 954328 w 5514975"/>
                  <a:gd name="connsiteY1346" fmla="*/ 4886123 h 5048250"/>
                  <a:gd name="connsiteX1347" fmla="*/ 997381 w 5514975"/>
                  <a:gd name="connsiteY1347" fmla="*/ 4925652 h 5048250"/>
                  <a:gd name="connsiteX1348" fmla="*/ 982522 w 5514975"/>
                  <a:gd name="connsiteY1348" fmla="*/ 4996518 h 5048250"/>
                  <a:gd name="connsiteX1349" fmla="*/ 975759 w 5514975"/>
                  <a:gd name="connsiteY1349" fmla="*/ 5039285 h 5048250"/>
                  <a:gd name="connsiteX1350" fmla="*/ 1050149 w 5514975"/>
                  <a:gd name="connsiteY1350" fmla="*/ 5010900 h 5048250"/>
                  <a:gd name="connsiteX1351" fmla="*/ 1171403 w 5514975"/>
                  <a:gd name="connsiteY1351" fmla="*/ 4930033 h 5048250"/>
                  <a:gd name="connsiteX1352" fmla="*/ 1225029 w 5514975"/>
                  <a:gd name="connsiteY1352" fmla="*/ 4908792 h 5048250"/>
                  <a:gd name="connsiteX1353" fmla="*/ 1297895 w 5514975"/>
                  <a:gd name="connsiteY1353" fmla="*/ 4938510 h 5048250"/>
                  <a:gd name="connsiteX1354" fmla="*/ 1340757 w 5514975"/>
                  <a:gd name="connsiteY1354" fmla="*/ 4946416 h 5048250"/>
                  <a:gd name="connsiteX1355" fmla="*/ 1360284 w 5514975"/>
                  <a:gd name="connsiteY1355" fmla="*/ 4931652 h 5048250"/>
                  <a:gd name="connsiteX1356" fmla="*/ 1500872 w 5514975"/>
                  <a:gd name="connsiteY1356" fmla="*/ 4983182 h 5048250"/>
                  <a:gd name="connsiteX1357" fmla="*/ 1524971 w 5514975"/>
                  <a:gd name="connsiteY1357" fmla="*/ 4991660 h 5048250"/>
                  <a:gd name="connsiteX1358" fmla="*/ 1544116 w 5514975"/>
                  <a:gd name="connsiteY1358" fmla="*/ 4977753 h 5048250"/>
                  <a:gd name="connsiteX1359" fmla="*/ 1534972 w 5514975"/>
                  <a:gd name="connsiteY1359" fmla="*/ 4957560 h 5048250"/>
                  <a:gd name="connsiteX1360" fmla="*/ 1472679 w 5514975"/>
                  <a:gd name="connsiteY1360" fmla="*/ 4891266 h 5048250"/>
                  <a:gd name="connsiteX1361" fmla="*/ 1224362 w 5514975"/>
                  <a:gd name="connsiteY1361" fmla="*/ 4365391 h 5048250"/>
                  <a:gd name="connsiteX1362" fmla="*/ 1194358 w 5514975"/>
                  <a:gd name="connsiteY1362" fmla="*/ 4008108 h 5048250"/>
                  <a:gd name="connsiteX1363" fmla="*/ 1187786 w 5514975"/>
                  <a:gd name="connsiteY1363" fmla="*/ 3791700 h 5048250"/>
                  <a:gd name="connsiteX1364" fmla="*/ 1195501 w 5514975"/>
                  <a:gd name="connsiteY1364" fmla="*/ 3584436 h 5048250"/>
                  <a:gd name="connsiteX1365" fmla="*/ 1208646 w 5514975"/>
                  <a:gd name="connsiteY1365" fmla="*/ 3490520 h 5048250"/>
                  <a:gd name="connsiteX1366" fmla="*/ 1237602 w 5514975"/>
                  <a:gd name="connsiteY1366" fmla="*/ 3373743 h 5048250"/>
                  <a:gd name="connsiteX1367" fmla="*/ 1265414 w 5514975"/>
                  <a:gd name="connsiteY1367" fmla="*/ 3292495 h 5048250"/>
                  <a:gd name="connsiteX1368" fmla="*/ 1300657 w 5514975"/>
                  <a:gd name="connsiteY1368" fmla="*/ 3221343 h 5048250"/>
                  <a:gd name="connsiteX1369" fmla="*/ 1329994 w 5514975"/>
                  <a:gd name="connsiteY1369" fmla="*/ 3176195 h 5048250"/>
                  <a:gd name="connsiteX1370" fmla="*/ 1356664 w 5514975"/>
                  <a:gd name="connsiteY1370" fmla="*/ 3135999 h 5048250"/>
                  <a:gd name="connsiteX1371" fmla="*/ 1390002 w 5514975"/>
                  <a:gd name="connsiteY1371" fmla="*/ 3093898 h 5048250"/>
                  <a:gd name="connsiteX1372" fmla="*/ 1419339 w 5514975"/>
                  <a:gd name="connsiteY1372" fmla="*/ 3054560 h 5048250"/>
                  <a:gd name="connsiteX1373" fmla="*/ 1484394 w 5514975"/>
                  <a:gd name="connsiteY1373" fmla="*/ 2977789 h 5048250"/>
                  <a:gd name="connsiteX1374" fmla="*/ 1544306 w 5514975"/>
                  <a:gd name="connsiteY1374" fmla="*/ 2916257 h 5048250"/>
                  <a:gd name="connsiteX1375" fmla="*/ 1605743 w 5514975"/>
                  <a:gd name="connsiteY1375" fmla="*/ 2861203 h 5048250"/>
                  <a:gd name="connsiteX1376" fmla="*/ 1656416 w 5514975"/>
                  <a:gd name="connsiteY1376" fmla="*/ 2813673 h 5048250"/>
                  <a:gd name="connsiteX1377" fmla="*/ 1726901 w 5514975"/>
                  <a:gd name="connsiteY1377" fmla="*/ 2751761 h 5048250"/>
                  <a:gd name="connsiteX1378" fmla="*/ 1798434 w 5514975"/>
                  <a:gd name="connsiteY1378" fmla="*/ 2705660 h 5048250"/>
                  <a:gd name="connsiteX1379" fmla="*/ 1887016 w 5514975"/>
                  <a:gd name="connsiteY1379" fmla="*/ 2670036 h 5048250"/>
                  <a:gd name="connsiteX1380" fmla="*/ 1992363 w 5514975"/>
                  <a:gd name="connsiteY1380" fmla="*/ 2654986 h 5048250"/>
                  <a:gd name="connsiteX1381" fmla="*/ 2093994 w 5514975"/>
                  <a:gd name="connsiteY1381" fmla="*/ 2654034 h 5048250"/>
                  <a:gd name="connsiteX1382" fmla="*/ 2181815 w 5514975"/>
                  <a:gd name="connsiteY1382" fmla="*/ 2673275 h 5048250"/>
                  <a:gd name="connsiteX1383" fmla="*/ 2318499 w 5514975"/>
                  <a:gd name="connsiteY1383" fmla="*/ 2729758 h 5048250"/>
                  <a:gd name="connsiteX1384" fmla="*/ 2351169 w 5514975"/>
                  <a:gd name="connsiteY1384" fmla="*/ 2744521 h 5048250"/>
                  <a:gd name="connsiteX1385" fmla="*/ 2364123 w 5514975"/>
                  <a:gd name="connsiteY1385" fmla="*/ 2750046 h 5048250"/>
                  <a:gd name="connsiteX1386" fmla="*/ 2386888 w 5514975"/>
                  <a:gd name="connsiteY1386" fmla="*/ 2762428 h 5048250"/>
                  <a:gd name="connsiteX1387" fmla="*/ 2382507 w 5514975"/>
                  <a:gd name="connsiteY1387" fmla="*/ 2787098 h 5048250"/>
                  <a:gd name="connsiteX1388" fmla="*/ 2372696 w 5514975"/>
                  <a:gd name="connsiteY1388" fmla="*/ 2815102 h 5048250"/>
                  <a:gd name="connsiteX1389" fmla="*/ 2354408 w 5514975"/>
                  <a:gd name="connsiteY1389" fmla="*/ 2846725 h 5048250"/>
                  <a:gd name="connsiteX1390" fmla="*/ 2334024 w 5514975"/>
                  <a:gd name="connsiteY1390" fmla="*/ 2870537 h 5048250"/>
                  <a:gd name="connsiteX1391" fmla="*/ 2310498 w 5514975"/>
                  <a:gd name="connsiteY1391" fmla="*/ 2889397 h 5048250"/>
                  <a:gd name="connsiteX1392" fmla="*/ 2252109 w 5514975"/>
                  <a:gd name="connsiteY1392" fmla="*/ 2967026 h 5048250"/>
                  <a:gd name="connsiteX1393" fmla="*/ 2243918 w 5514975"/>
                  <a:gd name="connsiteY1393" fmla="*/ 3069895 h 5048250"/>
                  <a:gd name="connsiteX1394" fmla="*/ 2255919 w 5514975"/>
                  <a:gd name="connsiteY1394" fmla="*/ 3112282 h 5048250"/>
                  <a:gd name="connsiteX1395" fmla="*/ 2263349 w 5514975"/>
                  <a:gd name="connsiteY1395" fmla="*/ 3130665 h 5048250"/>
                  <a:gd name="connsiteX1396" fmla="*/ 2268302 w 5514975"/>
                  <a:gd name="connsiteY1396" fmla="*/ 3137047 h 5048250"/>
                  <a:gd name="connsiteX1397" fmla="*/ 2271159 w 5514975"/>
                  <a:gd name="connsiteY1397" fmla="*/ 3133237 h 5048250"/>
                  <a:gd name="connsiteX1398" fmla="*/ 2326881 w 5514975"/>
                  <a:gd name="connsiteY1398" fmla="*/ 3075801 h 5048250"/>
                  <a:gd name="connsiteX1399" fmla="*/ 2381078 w 5514975"/>
                  <a:gd name="connsiteY1399" fmla="*/ 2984837 h 5048250"/>
                  <a:gd name="connsiteX1400" fmla="*/ 2363361 w 5514975"/>
                  <a:gd name="connsiteY1400" fmla="*/ 2903113 h 5048250"/>
                  <a:gd name="connsiteX1401" fmla="*/ 2355360 w 5514975"/>
                  <a:gd name="connsiteY1401" fmla="*/ 2887968 h 5048250"/>
                  <a:gd name="connsiteX1402" fmla="*/ 2354217 w 5514975"/>
                  <a:gd name="connsiteY1402" fmla="*/ 2876252 h 5048250"/>
                  <a:gd name="connsiteX1403" fmla="*/ 2378792 w 5514975"/>
                  <a:gd name="connsiteY1403" fmla="*/ 2833104 h 5048250"/>
                  <a:gd name="connsiteX1404" fmla="*/ 2409177 w 5514975"/>
                  <a:gd name="connsiteY1404" fmla="*/ 2771668 h 5048250"/>
                  <a:gd name="connsiteX1405" fmla="*/ 2422035 w 5514975"/>
                  <a:gd name="connsiteY1405" fmla="*/ 2787670 h 5048250"/>
                  <a:gd name="connsiteX1406" fmla="*/ 2434418 w 5514975"/>
                  <a:gd name="connsiteY1406" fmla="*/ 2807958 h 5048250"/>
                  <a:gd name="connsiteX1407" fmla="*/ 2451753 w 5514975"/>
                  <a:gd name="connsiteY1407" fmla="*/ 2835866 h 5048250"/>
                  <a:gd name="connsiteX1408" fmla="*/ 2458992 w 5514975"/>
                  <a:gd name="connsiteY1408" fmla="*/ 2847011 h 5048250"/>
                  <a:gd name="connsiteX1409" fmla="*/ 2464326 w 5514975"/>
                  <a:gd name="connsiteY1409" fmla="*/ 2861108 h 5048250"/>
                  <a:gd name="connsiteX1410" fmla="*/ 2467374 w 5514975"/>
                  <a:gd name="connsiteY1410" fmla="*/ 2918258 h 5048250"/>
                  <a:gd name="connsiteX1411" fmla="*/ 2472518 w 5514975"/>
                  <a:gd name="connsiteY1411" fmla="*/ 2963596 h 5048250"/>
                  <a:gd name="connsiteX1412" fmla="*/ 2475852 w 5514975"/>
                  <a:gd name="connsiteY1412" fmla="*/ 2984742 h 5048250"/>
                  <a:gd name="connsiteX1413" fmla="*/ 2469756 w 5514975"/>
                  <a:gd name="connsiteY1413" fmla="*/ 3001792 h 5048250"/>
                  <a:gd name="connsiteX1414" fmla="*/ 2454516 w 5514975"/>
                  <a:gd name="connsiteY1414" fmla="*/ 3059894 h 5048250"/>
                  <a:gd name="connsiteX1415" fmla="*/ 2464136 w 5514975"/>
                  <a:gd name="connsiteY1415" fmla="*/ 3110186 h 5048250"/>
                  <a:gd name="connsiteX1416" fmla="*/ 2495854 w 5514975"/>
                  <a:gd name="connsiteY1416" fmla="*/ 3162383 h 5048250"/>
                  <a:gd name="connsiteX1417" fmla="*/ 2527191 w 5514975"/>
                  <a:gd name="connsiteY1417" fmla="*/ 3192482 h 5048250"/>
                  <a:gd name="connsiteX1418" fmla="*/ 2543574 w 5514975"/>
                  <a:gd name="connsiteY1418" fmla="*/ 3209532 h 5048250"/>
                  <a:gd name="connsiteX1419" fmla="*/ 2553766 w 5514975"/>
                  <a:gd name="connsiteY1419" fmla="*/ 3219247 h 5048250"/>
                  <a:gd name="connsiteX1420" fmla="*/ 2557481 w 5514975"/>
                  <a:gd name="connsiteY1420" fmla="*/ 3214390 h 5048250"/>
                  <a:gd name="connsiteX1421" fmla="*/ 2556624 w 5514975"/>
                  <a:gd name="connsiteY1421" fmla="*/ 3202007 h 5048250"/>
                  <a:gd name="connsiteX1422" fmla="*/ 2559291 w 5514975"/>
                  <a:gd name="connsiteY1422" fmla="*/ 3181910 h 5048250"/>
                  <a:gd name="connsiteX1423" fmla="*/ 2567863 w 5514975"/>
                  <a:gd name="connsiteY1423" fmla="*/ 3113901 h 5048250"/>
                  <a:gd name="connsiteX1424" fmla="*/ 2561672 w 5514975"/>
                  <a:gd name="connsiteY1424" fmla="*/ 3061323 h 5048250"/>
                  <a:gd name="connsiteX1425" fmla="*/ 2541955 w 5514975"/>
                  <a:gd name="connsiteY1425" fmla="*/ 3029795 h 5048250"/>
                  <a:gd name="connsiteX1426" fmla="*/ 2506808 w 5514975"/>
                  <a:gd name="connsiteY1426" fmla="*/ 2998744 h 5048250"/>
                  <a:gd name="connsiteX1427" fmla="*/ 2484138 w 5514975"/>
                  <a:gd name="connsiteY1427" fmla="*/ 2981408 h 5048250"/>
                  <a:gd name="connsiteX1428" fmla="*/ 2481090 w 5514975"/>
                  <a:gd name="connsiteY1428" fmla="*/ 2949309 h 5048250"/>
                  <a:gd name="connsiteX1429" fmla="*/ 2481281 w 5514975"/>
                  <a:gd name="connsiteY1429" fmla="*/ 2922639 h 5048250"/>
                  <a:gd name="connsiteX1430" fmla="*/ 2484615 w 5514975"/>
                  <a:gd name="connsiteY1430" fmla="*/ 2879300 h 5048250"/>
                  <a:gd name="connsiteX1431" fmla="*/ 2504712 w 5514975"/>
                  <a:gd name="connsiteY1431" fmla="*/ 2903494 h 5048250"/>
                  <a:gd name="connsiteX1432" fmla="*/ 2529382 w 5514975"/>
                  <a:gd name="connsiteY1432" fmla="*/ 2929497 h 5048250"/>
                  <a:gd name="connsiteX1433" fmla="*/ 2553861 w 5514975"/>
                  <a:gd name="connsiteY1433" fmla="*/ 2951404 h 5048250"/>
                  <a:gd name="connsiteX1434" fmla="*/ 2585103 w 5514975"/>
                  <a:gd name="connsiteY1434" fmla="*/ 2975312 h 5048250"/>
                  <a:gd name="connsiteX1435" fmla="*/ 2591961 w 5514975"/>
                  <a:gd name="connsiteY1435" fmla="*/ 2982361 h 5048250"/>
                  <a:gd name="connsiteX1436" fmla="*/ 2595676 w 5514975"/>
                  <a:gd name="connsiteY1436" fmla="*/ 2994553 h 5048250"/>
                  <a:gd name="connsiteX1437" fmla="*/ 2608440 w 5514975"/>
                  <a:gd name="connsiteY1437" fmla="*/ 3022366 h 5048250"/>
                  <a:gd name="connsiteX1438" fmla="*/ 2683306 w 5514975"/>
                  <a:gd name="connsiteY1438" fmla="*/ 3103995 h 5048250"/>
                  <a:gd name="connsiteX1439" fmla="*/ 2766650 w 5514975"/>
                  <a:gd name="connsiteY1439" fmla="*/ 3121140 h 5048250"/>
                  <a:gd name="connsiteX1440" fmla="*/ 2788176 w 5514975"/>
                  <a:gd name="connsiteY1440" fmla="*/ 3121140 h 5048250"/>
                  <a:gd name="connsiteX1441" fmla="*/ 2810465 w 5514975"/>
                  <a:gd name="connsiteY1441" fmla="*/ 3116759 h 5048250"/>
                  <a:gd name="connsiteX1442" fmla="*/ 2802178 w 5514975"/>
                  <a:gd name="connsiteY1442" fmla="*/ 3100852 h 5048250"/>
                  <a:gd name="connsiteX1443" fmla="*/ 2791034 w 5514975"/>
                  <a:gd name="connsiteY1443" fmla="*/ 3081040 h 5048250"/>
                  <a:gd name="connsiteX1444" fmla="*/ 2735408 w 5514975"/>
                  <a:gd name="connsiteY1444" fmla="*/ 3002649 h 5048250"/>
                  <a:gd name="connsiteX1445" fmla="*/ 2680830 w 5514975"/>
                  <a:gd name="connsiteY1445" fmla="*/ 2965692 h 5048250"/>
                  <a:gd name="connsiteX1446" fmla="*/ 2620060 w 5514975"/>
                  <a:gd name="connsiteY1446" fmla="*/ 2963692 h 5048250"/>
                  <a:gd name="connsiteX1447" fmla="*/ 2602153 w 5514975"/>
                  <a:gd name="connsiteY1447" fmla="*/ 2970550 h 5048250"/>
                  <a:gd name="connsiteX1448" fmla="*/ 2588532 w 5514975"/>
                  <a:gd name="connsiteY1448" fmla="*/ 2967216 h 5048250"/>
                  <a:gd name="connsiteX1449" fmla="*/ 2554814 w 5514975"/>
                  <a:gd name="connsiteY1449" fmla="*/ 2937022 h 5048250"/>
                  <a:gd name="connsiteX1450" fmla="*/ 2496616 w 5514975"/>
                  <a:gd name="connsiteY1450" fmla="*/ 2873966 h 5048250"/>
                  <a:gd name="connsiteX1451" fmla="*/ 2436323 w 5514975"/>
                  <a:gd name="connsiteY1451" fmla="*/ 2784241 h 5048250"/>
                  <a:gd name="connsiteX1452" fmla="*/ 2592152 w 5514975"/>
                  <a:gd name="connsiteY1452" fmla="*/ 2849296 h 5048250"/>
                  <a:gd name="connsiteX1453" fmla="*/ 2671686 w 5514975"/>
                  <a:gd name="connsiteY1453" fmla="*/ 2877205 h 5048250"/>
                  <a:gd name="connsiteX1454" fmla="*/ 2758268 w 5514975"/>
                  <a:gd name="connsiteY1454" fmla="*/ 2902160 h 5048250"/>
                  <a:gd name="connsiteX1455" fmla="*/ 2901524 w 5514975"/>
                  <a:gd name="connsiteY1455" fmla="*/ 2931402 h 5048250"/>
                  <a:gd name="connsiteX1456" fmla="*/ 3020967 w 5514975"/>
                  <a:gd name="connsiteY1456" fmla="*/ 2940260 h 5048250"/>
                  <a:gd name="connsiteX1457" fmla="*/ 3039255 w 5514975"/>
                  <a:gd name="connsiteY1457" fmla="*/ 2940165 h 5048250"/>
                  <a:gd name="connsiteX1458" fmla="*/ 3048114 w 5514975"/>
                  <a:gd name="connsiteY1458" fmla="*/ 2945118 h 5048250"/>
                  <a:gd name="connsiteX1459" fmla="*/ 3078403 w 5514975"/>
                  <a:gd name="connsiteY1459" fmla="*/ 2963978 h 5048250"/>
                  <a:gd name="connsiteX1460" fmla="*/ 3128790 w 5514975"/>
                  <a:gd name="connsiteY1460" fmla="*/ 2997982 h 5048250"/>
                  <a:gd name="connsiteX1461" fmla="*/ 3146031 w 5514975"/>
                  <a:gd name="connsiteY1461" fmla="*/ 3009697 h 5048250"/>
                  <a:gd name="connsiteX1462" fmla="*/ 3154127 w 5514975"/>
                  <a:gd name="connsiteY1462" fmla="*/ 3015794 h 5048250"/>
                  <a:gd name="connsiteX1463" fmla="*/ 3157080 w 5514975"/>
                  <a:gd name="connsiteY1463" fmla="*/ 3032177 h 5048250"/>
                  <a:gd name="connsiteX1464" fmla="*/ 3168795 w 5514975"/>
                  <a:gd name="connsiteY1464" fmla="*/ 3071991 h 5048250"/>
                  <a:gd name="connsiteX1465" fmla="*/ 3180416 w 5514975"/>
                  <a:gd name="connsiteY1465" fmla="*/ 3100090 h 5048250"/>
                  <a:gd name="connsiteX1466" fmla="*/ 3185750 w 5514975"/>
                  <a:gd name="connsiteY1466" fmla="*/ 3110567 h 5048250"/>
                  <a:gd name="connsiteX1467" fmla="*/ 3188226 w 5514975"/>
                  <a:gd name="connsiteY1467" fmla="*/ 3120664 h 5048250"/>
                  <a:gd name="connsiteX1468" fmla="*/ 3172129 w 5514975"/>
                  <a:gd name="connsiteY1468" fmla="*/ 3153811 h 5048250"/>
                  <a:gd name="connsiteX1469" fmla="*/ 3163271 w 5514975"/>
                  <a:gd name="connsiteY1469" fmla="*/ 3191339 h 5048250"/>
                  <a:gd name="connsiteX1470" fmla="*/ 3252330 w 5514975"/>
                  <a:gd name="connsiteY1470" fmla="*/ 3354979 h 5048250"/>
                  <a:gd name="connsiteX1471" fmla="*/ 3321005 w 5514975"/>
                  <a:gd name="connsiteY1471" fmla="*/ 3384030 h 5048250"/>
                  <a:gd name="connsiteX1472" fmla="*/ 3333292 w 5514975"/>
                  <a:gd name="connsiteY1472" fmla="*/ 3374410 h 5048250"/>
                  <a:gd name="connsiteX1473" fmla="*/ 3336912 w 5514975"/>
                  <a:gd name="connsiteY1473" fmla="*/ 3340405 h 5048250"/>
                  <a:gd name="connsiteX1474" fmla="*/ 3313004 w 5514975"/>
                  <a:gd name="connsiteY1474" fmla="*/ 3240679 h 5048250"/>
                  <a:gd name="connsiteX1475" fmla="*/ 3288048 w 5514975"/>
                  <a:gd name="connsiteY1475" fmla="*/ 3194673 h 5048250"/>
                  <a:gd name="connsiteX1476" fmla="*/ 3262616 w 5514975"/>
                  <a:gd name="connsiteY1476" fmla="*/ 3166479 h 5048250"/>
                  <a:gd name="connsiteX1477" fmla="*/ 3200609 w 5514975"/>
                  <a:gd name="connsiteY1477" fmla="*/ 3119806 h 5048250"/>
                  <a:gd name="connsiteX1478" fmla="*/ 3191370 w 5514975"/>
                  <a:gd name="connsiteY1478" fmla="*/ 3099899 h 5048250"/>
                  <a:gd name="connsiteX1479" fmla="*/ 3184607 w 5514975"/>
                  <a:gd name="connsiteY1479" fmla="*/ 3069229 h 5048250"/>
                  <a:gd name="connsiteX1480" fmla="*/ 3178987 w 5514975"/>
                  <a:gd name="connsiteY1480" fmla="*/ 3033701 h 5048250"/>
                  <a:gd name="connsiteX1481" fmla="*/ 3287382 w 5514975"/>
                  <a:gd name="connsiteY1481" fmla="*/ 3098089 h 5048250"/>
                  <a:gd name="connsiteX1482" fmla="*/ 3385394 w 5514975"/>
                  <a:gd name="connsiteY1482" fmla="*/ 3135999 h 5048250"/>
                  <a:gd name="connsiteX1483" fmla="*/ 3392633 w 5514975"/>
                  <a:gd name="connsiteY1483" fmla="*/ 3138761 h 5048250"/>
                  <a:gd name="connsiteX1484" fmla="*/ 3399205 w 5514975"/>
                  <a:gd name="connsiteY1484" fmla="*/ 3150001 h 5048250"/>
                  <a:gd name="connsiteX1485" fmla="*/ 3416636 w 5514975"/>
                  <a:gd name="connsiteY1485" fmla="*/ 3176576 h 5048250"/>
                  <a:gd name="connsiteX1486" fmla="*/ 3448449 w 5514975"/>
                  <a:gd name="connsiteY1486" fmla="*/ 3221438 h 5048250"/>
                  <a:gd name="connsiteX1487" fmla="*/ 3470928 w 5514975"/>
                  <a:gd name="connsiteY1487" fmla="*/ 3248108 h 5048250"/>
                  <a:gd name="connsiteX1488" fmla="*/ 3477786 w 5514975"/>
                  <a:gd name="connsiteY1488" fmla="*/ 3270206 h 5048250"/>
                  <a:gd name="connsiteX1489" fmla="*/ 3511314 w 5514975"/>
                  <a:gd name="connsiteY1489" fmla="*/ 3345739 h 5048250"/>
                  <a:gd name="connsiteX1490" fmla="*/ 3596849 w 5514975"/>
                  <a:gd name="connsiteY1490" fmla="*/ 3410033 h 5048250"/>
                  <a:gd name="connsiteX1491" fmla="*/ 3700576 w 5514975"/>
                  <a:gd name="connsiteY1491" fmla="*/ 3422130 h 5048250"/>
                  <a:gd name="connsiteX1492" fmla="*/ 3701529 w 5514975"/>
                  <a:gd name="connsiteY1492" fmla="*/ 3399365 h 5048250"/>
                  <a:gd name="connsiteX1493" fmla="*/ 3692670 w 5514975"/>
                  <a:gd name="connsiteY1493" fmla="*/ 3370504 h 5048250"/>
                  <a:gd name="connsiteX1494" fmla="*/ 3671430 w 5514975"/>
                  <a:gd name="connsiteY1494" fmla="*/ 3326594 h 5048250"/>
                  <a:gd name="connsiteX1495" fmla="*/ 3578180 w 5514975"/>
                  <a:gd name="connsiteY1495" fmla="*/ 3242488 h 5048250"/>
                  <a:gd name="connsiteX1496" fmla="*/ 3520839 w 5514975"/>
                  <a:gd name="connsiteY1496" fmla="*/ 3235250 h 5048250"/>
                  <a:gd name="connsiteX1497" fmla="*/ 3489597 w 5514975"/>
                  <a:gd name="connsiteY1497" fmla="*/ 3239726 h 5048250"/>
                  <a:gd name="connsiteX1498" fmla="*/ 3478644 w 5514975"/>
                  <a:gd name="connsiteY1498" fmla="*/ 3239060 h 5048250"/>
                  <a:gd name="connsiteX1499" fmla="*/ 3466642 w 5514975"/>
                  <a:gd name="connsiteY1499" fmla="*/ 3223724 h 5048250"/>
                  <a:gd name="connsiteX1500" fmla="*/ 3419493 w 5514975"/>
                  <a:gd name="connsiteY1500" fmla="*/ 3143333 h 5048250"/>
                  <a:gd name="connsiteX1501" fmla="*/ 3482263 w 5514975"/>
                  <a:gd name="connsiteY1501" fmla="*/ 3152477 h 5048250"/>
                  <a:gd name="connsiteX1502" fmla="*/ 3526840 w 5514975"/>
                  <a:gd name="connsiteY1502" fmla="*/ 3155144 h 5048250"/>
                  <a:gd name="connsiteX1503" fmla="*/ 3538270 w 5514975"/>
                  <a:gd name="connsiteY1503" fmla="*/ 3154763 h 5048250"/>
                  <a:gd name="connsiteX1504" fmla="*/ 3560940 w 5514975"/>
                  <a:gd name="connsiteY1504" fmla="*/ 3165622 h 5048250"/>
                  <a:gd name="connsiteX1505" fmla="*/ 3603231 w 5514975"/>
                  <a:gd name="connsiteY1505" fmla="*/ 3185243 h 5048250"/>
                  <a:gd name="connsiteX1506" fmla="*/ 3689337 w 5514975"/>
                  <a:gd name="connsiteY1506" fmla="*/ 3199721 h 5048250"/>
                  <a:gd name="connsiteX1507" fmla="*/ 3794969 w 5514975"/>
                  <a:gd name="connsiteY1507" fmla="*/ 3165908 h 5048250"/>
                  <a:gd name="connsiteX1508" fmla="*/ 3825354 w 5514975"/>
                  <a:gd name="connsiteY1508" fmla="*/ 3141428 h 5048250"/>
                  <a:gd name="connsiteX1509" fmla="*/ 3839832 w 5514975"/>
                  <a:gd name="connsiteY1509" fmla="*/ 3106662 h 5048250"/>
                  <a:gd name="connsiteX1510" fmla="*/ 3829449 w 5514975"/>
                  <a:gd name="connsiteY1510" fmla="*/ 3103328 h 5048250"/>
                  <a:gd name="connsiteX1511" fmla="*/ 3805065 w 5514975"/>
                  <a:gd name="connsiteY1511" fmla="*/ 3093994 h 5048250"/>
                  <a:gd name="connsiteX1512" fmla="*/ 3746677 w 5514975"/>
                  <a:gd name="connsiteY1512" fmla="*/ 3074277 h 5048250"/>
                  <a:gd name="connsiteX1513" fmla="*/ 3681812 w 5514975"/>
                  <a:gd name="connsiteY1513" fmla="*/ 3061609 h 5048250"/>
                  <a:gd name="connsiteX1514" fmla="*/ 3615899 w 5514975"/>
                  <a:gd name="connsiteY1514" fmla="*/ 3075229 h 5048250"/>
                  <a:gd name="connsiteX1515" fmla="*/ 3557606 w 5514975"/>
                  <a:gd name="connsiteY1515" fmla="*/ 3110662 h 5048250"/>
                  <a:gd name="connsiteX1516" fmla="*/ 3537794 w 5514975"/>
                  <a:gd name="connsiteY1516" fmla="*/ 3131236 h 5048250"/>
                  <a:gd name="connsiteX1517" fmla="*/ 3526649 w 5514975"/>
                  <a:gd name="connsiteY1517" fmla="*/ 3141809 h 5048250"/>
                  <a:gd name="connsiteX1518" fmla="*/ 3504075 w 5514975"/>
                  <a:gd name="connsiteY1518" fmla="*/ 3141809 h 5048250"/>
                  <a:gd name="connsiteX1519" fmla="*/ 3477882 w 5514975"/>
                  <a:gd name="connsiteY1519" fmla="*/ 3139142 h 5048250"/>
                  <a:gd name="connsiteX1520" fmla="*/ 3432828 w 5514975"/>
                  <a:gd name="connsiteY1520" fmla="*/ 3135332 h 5048250"/>
                  <a:gd name="connsiteX1521" fmla="*/ 3333292 w 5514975"/>
                  <a:gd name="connsiteY1521" fmla="*/ 3107043 h 5048250"/>
                  <a:gd name="connsiteX1522" fmla="*/ 3366344 w 5514975"/>
                  <a:gd name="connsiteY1522" fmla="*/ 3100471 h 5048250"/>
                  <a:gd name="connsiteX1523" fmla="*/ 3386537 w 5514975"/>
                  <a:gd name="connsiteY1523" fmla="*/ 3093613 h 5048250"/>
                  <a:gd name="connsiteX1524" fmla="*/ 3405491 w 5514975"/>
                  <a:gd name="connsiteY1524" fmla="*/ 3085802 h 5048250"/>
                  <a:gd name="connsiteX1525" fmla="*/ 3478644 w 5514975"/>
                  <a:gd name="connsiteY1525" fmla="*/ 3086564 h 5048250"/>
                  <a:gd name="connsiteX1526" fmla="*/ 3559987 w 5514975"/>
                  <a:gd name="connsiteY1526" fmla="*/ 3058846 h 5048250"/>
                  <a:gd name="connsiteX1527" fmla="*/ 3612851 w 5514975"/>
                  <a:gd name="connsiteY1527" fmla="*/ 3010269 h 5048250"/>
                  <a:gd name="connsiteX1528" fmla="*/ 3640188 w 5514975"/>
                  <a:gd name="connsiteY1528" fmla="*/ 2955691 h 5048250"/>
                  <a:gd name="connsiteX1529" fmla="*/ 3658571 w 5514975"/>
                  <a:gd name="connsiteY1529" fmla="*/ 2905780 h 5048250"/>
                  <a:gd name="connsiteX1530" fmla="*/ 3649522 w 5514975"/>
                  <a:gd name="connsiteY1530" fmla="*/ 2902732 h 5048250"/>
                  <a:gd name="connsiteX1531" fmla="*/ 3631044 w 5514975"/>
                  <a:gd name="connsiteY1531" fmla="*/ 2908161 h 5048250"/>
                  <a:gd name="connsiteX1532" fmla="*/ 3572274 w 5514975"/>
                  <a:gd name="connsiteY1532" fmla="*/ 2926354 h 5048250"/>
                  <a:gd name="connsiteX1533" fmla="*/ 3494741 w 5514975"/>
                  <a:gd name="connsiteY1533" fmla="*/ 2951690 h 5048250"/>
                  <a:gd name="connsiteX1534" fmla="*/ 3399586 w 5514975"/>
                  <a:gd name="connsiteY1534" fmla="*/ 3048274 h 5048250"/>
                  <a:gd name="connsiteX1535" fmla="*/ 3394538 w 5514975"/>
                  <a:gd name="connsiteY1535" fmla="*/ 3068657 h 5048250"/>
                  <a:gd name="connsiteX1536" fmla="*/ 3391966 w 5514975"/>
                  <a:gd name="connsiteY1536" fmla="*/ 3075706 h 5048250"/>
                  <a:gd name="connsiteX1537" fmla="*/ 3378155 w 5514975"/>
                  <a:gd name="connsiteY1537" fmla="*/ 3083230 h 5048250"/>
                  <a:gd name="connsiteX1538" fmla="*/ 3319100 w 5514975"/>
                  <a:gd name="connsiteY1538" fmla="*/ 3092184 h 5048250"/>
                  <a:gd name="connsiteX1539" fmla="*/ 3305765 w 5514975"/>
                  <a:gd name="connsiteY1539" fmla="*/ 3091517 h 5048250"/>
                  <a:gd name="connsiteX1540" fmla="*/ 3285096 w 5514975"/>
                  <a:gd name="connsiteY1540" fmla="*/ 3082564 h 5048250"/>
                  <a:gd name="connsiteX1541" fmla="*/ 3238328 w 5514975"/>
                  <a:gd name="connsiteY1541" fmla="*/ 3054655 h 5048250"/>
                  <a:gd name="connsiteX1542" fmla="*/ 3082499 w 5514975"/>
                  <a:gd name="connsiteY1542" fmla="*/ 2939594 h 5048250"/>
                  <a:gd name="connsiteX1543" fmla="*/ 3226041 w 5514975"/>
                  <a:gd name="connsiteY1543" fmla="*/ 2928735 h 5048250"/>
                  <a:gd name="connsiteX1544" fmla="*/ 3383965 w 5514975"/>
                  <a:gd name="connsiteY1544" fmla="*/ 2904065 h 5048250"/>
                  <a:gd name="connsiteX1545" fmla="*/ 3633806 w 5514975"/>
                  <a:gd name="connsiteY1545" fmla="*/ 2840248 h 5048250"/>
                  <a:gd name="connsiteX1546" fmla="*/ 3738771 w 5514975"/>
                  <a:gd name="connsiteY1546" fmla="*/ 2808244 h 5048250"/>
                  <a:gd name="connsiteX1547" fmla="*/ 3786301 w 5514975"/>
                  <a:gd name="connsiteY1547" fmla="*/ 2792623 h 5048250"/>
                  <a:gd name="connsiteX1548" fmla="*/ 3826592 w 5514975"/>
                  <a:gd name="connsiteY1548" fmla="*/ 2780907 h 5048250"/>
                  <a:gd name="connsiteX1549" fmla="*/ 3859929 w 5514975"/>
                  <a:gd name="connsiteY1549" fmla="*/ 2786146 h 5048250"/>
                  <a:gd name="connsiteX1550" fmla="*/ 3906316 w 5514975"/>
                  <a:gd name="connsiteY1550" fmla="*/ 2806529 h 5048250"/>
                  <a:gd name="connsiteX1551" fmla="*/ 3931938 w 5514975"/>
                  <a:gd name="connsiteY1551" fmla="*/ 2833009 h 5048250"/>
                  <a:gd name="connsiteX1552" fmla="*/ 3978135 w 5514975"/>
                  <a:gd name="connsiteY1552" fmla="*/ 2890445 h 5048250"/>
                  <a:gd name="connsiteX1553" fmla="*/ 4120914 w 5514975"/>
                  <a:gd name="connsiteY1553" fmla="*/ 2937022 h 5048250"/>
                  <a:gd name="connsiteX1554" fmla="*/ 4132535 w 5514975"/>
                  <a:gd name="connsiteY1554" fmla="*/ 2915590 h 5048250"/>
                  <a:gd name="connsiteX1555" fmla="*/ 4112247 w 5514975"/>
                  <a:gd name="connsiteY1555" fmla="*/ 2884158 h 5048250"/>
                  <a:gd name="connsiteX1556" fmla="*/ 4087863 w 5514975"/>
                  <a:gd name="connsiteY1556" fmla="*/ 2849011 h 5048250"/>
                  <a:gd name="connsiteX1557" fmla="*/ 4056240 w 5514975"/>
                  <a:gd name="connsiteY1557" fmla="*/ 2816340 h 5048250"/>
                  <a:gd name="connsiteX1558" fmla="*/ 4018616 w 5514975"/>
                  <a:gd name="connsiteY1558" fmla="*/ 2788622 h 5048250"/>
                  <a:gd name="connsiteX1559" fmla="*/ 3970324 w 5514975"/>
                  <a:gd name="connsiteY1559" fmla="*/ 2781288 h 5048250"/>
                  <a:gd name="connsiteX1560" fmla="*/ 3926699 w 5514975"/>
                  <a:gd name="connsiteY1560" fmla="*/ 2796623 h 5048250"/>
                  <a:gd name="connsiteX1561" fmla="*/ 3920508 w 5514975"/>
                  <a:gd name="connsiteY1561" fmla="*/ 2798623 h 5048250"/>
                  <a:gd name="connsiteX1562" fmla="*/ 3913746 w 5514975"/>
                  <a:gd name="connsiteY1562" fmla="*/ 2795099 h 5048250"/>
                  <a:gd name="connsiteX1563" fmla="*/ 3896791 w 5514975"/>
                  <a:gd name="connsiteY1563" fmla="*/ 2786336 h 5048250"/>
                  <a:gd name="connsiteX1564" fmla="*/ 3856119 w 5514975"/>
                  <a:gd name="connsiteY1564" fmla="*/ 2771287 h 5048250"/>
                  <a:gd name="connsiteX1565" fmla="*/ 3927271 w 5514975"/>
                  <a:gd name="connsiteY1565" fmla="*/ 2752618 h 5048250"/>
                  <a:gd name="connsiteX1566" fmla="*/ 3977849 w 5514975"/>
                  <a:gd name="connsiteY1566" fmla="*/ 2743855 h 5048250"/>
                  <a:gd name="connsiteX1567" fmla="*/ 4100245 w 5514975"/>
                  <a:gd name="connsiteY1567" fmla="*/ 2726043 h 5048250"/>
                  <a:gd name="connsiteX1568" fmla="*/ 4171397 w 5514975"/>
                  <a:gd name="connsiteY1568" fmla="*/ 2724328 h 5048250"/>
                  <a:gd name="connsiteX1569" fmla="*/ 4257979 w 5514975"/>
                  <a:gd name="connsiteY1569" fmla="*/ 2740902 h 5048250"/>
                  <a:gd name="connsiteX1570" fmla="*/ 4268171 w 5514975"/>
                  <a:gd name="connsiteY1570" fmla="*/ 2744236 h 5048250"/>
                  <a:gd name="connsiteX1571" fmla="*/ 4282744 w 5514975"/>
                  <a:gd name="connsiteY1571" fmla="*/ 2758809 h 5048250"/>
                  <a:gd name="connsiteX1572" fmla="*/ 4312367 w 5514975"/>
                  <a:gd name="connsiteY1572" fmla="*/ 2799862 h 5048250"/>
                  <a:gd name="connsiteX1573" fmla="*/ 4322844 w 5514975"/>
                  <a:gd name="connsiteY1573" fmla="*/ 2818245 h 5048250"/>
                  <a:gd name="connsiteX1574" fmla="*/ 4322273 w 5514975"/>
                  <a:gd name="connsiteY1574" fmla="*/ 2830151 h 5048250"/>
                  <a:gd name="connsiteX1575" fmla="*/ 4313224 w 5514975"/>
                  <a:gd name="connsiteY1575" fmla="*/ 2853773 h 5048250"/>
                  <a:gd name="connsiteX1576" fmla="*/ 4312843 w 5514975"/>
                  <a:gd name="connsiteY1576" fmla="*/ 2885396 h 5048250"/>
                  <a:gd name="connsiteX1577" fmla="*/ 4330369 w 5514975"/>
                  <a:gd name="connsiteY1577" fmla="*/ 2942261 h 5048250"/>
                  <a:gd name="connsiteX1578" fmla="*/ 4359230 w 5514975"/>
                  <a:gd name="connsiteY1578" fmla="*/ 2975788 h 5048250"/>
                  <a:gd name="connsiteX1579" fmla="*/ 4382662 w 5514975"/>
                  <a:gd name="connsiteY1579" fmla="*/ 2993124 h 5048250"/>
                  <a:gd name="connsiteX1580" fmla="*/ 4409713 w 5514975"/>
                  <a:gd name="connsiteY1580" fmla="*/ 3005506 h 5048250"/>
                  <a:gd name="connsiteX1581" fmla="*/ 4420095 w 5514975"/>
                  <a:gd name="connsiteY1581" fmla="*/ 3013412 h 5048250"/>
                  <a:gd name="connsiteX1582" fmla="*/ 4426953 w 5514975"/>
                  <a:gd name="connsiteY1582" fmla="*/ 3019318 h 5048250"/>
                  <a:gd name="connsiteX1583" fmla="*/ 4428858 w 5514975"/>
                  <a:gd name="connsiteY1583" fmla="*/ 2998934 h 5048250"/>
                  <a:gd name="connsiteX1584" fmla="*/ 4428763 w 5514975"/>
                  <a:gd name="connsiteY1584" fmla="*/ 2997601 h 5048250"/>
                  <a:gd name="connsiteX1585" fmla="*/ 4427905 w 5514975"/>
                  <a:gd name="connsiteY1585" fmla="*/ 2982932 h 5048250"/>
                  <a:gd name="connsiteX1586" fmla="*/ 4426953 w 5514975"/>
                  <a:gd name="connsiteY1586" fmla="*/ 2972931 h 5048250"/>
                  <a:gd name="connsiteX1587" fmla="*/ 4426476 w 5514975"/>
                  <a:gd name="connsiteY1587" fmla="*/ 2967216 h 5048250"/>
                  <a:gd name="connsiteX1588" fmla="*/ 4416475 w 5514975"/>
                  <a:gd name="connsiteY1588" fmla="*/ 2882539 h 5048250"/>
                  <a:gd name="connsiteX1589" fmla="*/ 4392187 w 5514975"/>
                  <a:gd name="connsiteY1589" fmla="*/ 2846058 h 5048250"/>
                  <a:gd name="connsiteX1590" fmla="*/ 4359040 w 5514975"/>
                  <a:gd name="connsiteY1590" fmla="*/ 2822531 h 5048250"/>
                  <a:gd name="connsiteX1591" fmla="*/ 4339990 w 5514975"/>
                  <a:gd name="connsiteY1591" fmla="*/ 2812435 h 5048250"/>
                  <a:gd name="connsiteX1592" fmla="*/ 4332655 w 5514975"/>
                  <a:gd name="connsiteY1592" fmla="*/ 2802053 h 5048250"/>
                  <a:gd name="connsiteX1593" fmla="*/ 4322940 w 5514975"/>
                  <a:gd name="connsiteY1593" fmla="*/ 2790432 h 5048250"/>
                  <a:gd name="connsiteX1594" fmla="*/ 4296174 w 5514975"/>
                  <a:gd name="connsiteY1594" fmla="*/ 2753570 h 5048250"/>
                  <a:gd name="connsiteX1595" fmla="*/ 4507153 w 5514975"/>
                  <a:gd name="connsiteY1595" fmla="*/ 2877300 h 5048250"/>
                  <a:gd name="connsiteX1596" fmla="*/ 4549825 w 5514975"/>
                  <a:gd name="connsiteY1596" fmla="*/ 2911590 h 5048250"/>
                  <a:gd name="connsiteX1597" fmla="*/ 4577067 w 5514975"/>
                  <a:gd name="connsiteY1597" fmla="*/ 2936736 h 5048250"/>
                  <a:gd name="connsiteX1598" fmla="*/ 4580781 w 5514975"/>
                  <a:gd name="connsiteY1598" fmla="*/ 2948833 h 5048250"/>
                  <a:gd name="connsiteX1599" fmla="*/ 4637646 w 5514975"/>
                  <a:gd name="connsiteY1599" fmla="*/ 3056656 h 5048250"/>
                  <a:gd name="connsiteX1600" fmla="*/ 4752231 w 5514975"/>
                  <a:gd name="connsiteY1600" fmla="*/ 3093518 h 5048250"/>
                  <a:gd name="connsiteX1601" fmla="*/ 4840909 w 5514975"/>
                  <a:gd name="connsiteY1601" fmla="*/ 3084373 h 5048250"/>
                  <a:gd name="connsiteX1602" fmla="*/ 4883867 w 5514975"/>
                  <a:gd name="connsiteY1602" fmla="*/ 3071991 h 5048250"/>
                  <a:gd name="connsiteX1603" fmla="*/ 4907108 w 5514975"/>
                  <a:gd name="connsiteY1603" fmla="*/ 3061704 h 5048250"/>
                  <a:gd name="connsiteX1604" fmla="*/ 4890535 w 5514975"/>
                  <a:gd name="connsiteY1604" fmla="*/ 3050560 h 5048250"/>
                  <a:gd name="connsiteX1605" fmla="*/ 4858912 w 5514975"/>
                  <a:gd name="connsiteY1605" fmla="*/ 3024842 h 5048250"/>
                  <a:gd name="connsiteX1606" fmla="*/ 4826431 w 5514975"/>
                  <a:gd name="connsiteY1606" fmla="*/ 2997791 h 5048250"/>
                  <a:gd name="connsiteX1607" fmla="*/ 4741087 w 5514975"/>
                  <a:gd name="connsiteY1607" fmla="*/ 2938831 h 5048250"/>
                  <a:gd name="connsiteX1608" fmla="*/ 4678032 w 5514975"/>
                  <a:gd name="connsiteY1608" fmla="*/ 2915686 h 5048250"/>
                  <a:gd name="connsiteX1609" fmla="*/ 4630788 w 5514975"/>
                  <a:gd name="connsiteY1609" fmla="*/ 2912543 h 5048250"/>
                  <a:gd name="connsiteX1610" fmla="*/ 4608690 w 5514975"/>
                  <a:gd name="connsiteY1610" fmla="*/ 2913876 h 5048250"/>
                  <a:gd name="connsiteX1611" fmla="*/ 4590116 w 5514975"/>
                  <a:gd name="connsiteY1611" fmla="*/ 2916162 h 5048250"/>
                  <a:gd name="connsiteX1612" fmla="*/ 4574971 w 5514975"/>
                  <a:gd name="connsiteY1612" fmla="*/ 2908256 h 5048250"/>
                  <a:gd name="connsiteX1613" fmla="*/ 4534014 w 5514975"/>
                  <a:gd name="connsiteY1613" fmla="*/ 2873014 h 5048250"/>
                  <a:gd name="connsiteX1614" fmla="*/ 4510297 w 5514975"/>
                  <a:gd name="connsiteY1614" fmla="*/ 2855011 h 5048250"/>
                  <a:gd name="connsiteX1615" fmla="*/ 4571352 w 5514975"/>
                  <a:gd name="connsiteY1615" fmla="*/ 2848249 h 5048250"/>
                  <a:gd name="connsiteX1616" fmla="*/ 4604213 w 5514975"/>
                  <a:gd name="connsiteY1616" fmla="*/ 2849106 h 5048250"/>
                  <a:gd name="connsiteX1617" fmla="*/ 4616691 w 5514975"/>
                  <a:gd name="connsiteY1617" fmla="*/ 2854535 h 5048250"/>
                  <a:gd name="connsiteX1618" fmla="*/ 4654600 w 5514975"/>
                  <a:gd name="connsiteY1618" fmla="*/ 2867013 h 5048250"/>
                  <a:gd name="connsiteX1619" fmla="*/ 4726038 w 5514975"/>
                  <a:gd name="connsiteY1619" fmla="*/ 2872823 h 5048250"/>
                  <a:gd name="connsiteX1620" fmla="*/ 4856721 w 5514975"/>
                  <a:gd name="connsiteY1620" fmla="*/ 2809577 h 5048250"/>
                  <a:gd name="connsiteX1621" fmla="*/ 4877962 w 5514975"/>
                  <a:gd name="connsiteY1621" fmla="*/ 2781478 h 5048250"/>
                  <a:gd name="connsiteX1622" fmla="*/ 4885867 w 5514975"/>
                  <a:gd name="connsiteY1622" fmla="*/ 2769001 h 5048250"/>
                  <a:gd name="connsiteX1623" fmla="*/ 4885105 w 5514975"/>
                  <a:gd name="connsiteY1623" fmla="*/ 2752999 h 5048250"/>
                  <a:gd name="connsiteX1624" fmla="*/ 4809858 w 5514975"/>
                  <a:gd name="connsiteY1624" fmla="*/ 2750998 h 5048250"/>
                  <a:gd name="connsiteX1625" fmla="*/ 4696415 w 5514975"/>
                  <a:gd name="connsiteY1625" fmla="*/ 2755666 h 5048250"/>
                  <a:gd name="connsiteX1626" fmla="*/ 4631264 w 5514975"/>
                  <a:gd name="connsiteY1626" fmla="*/ 2790622 h 5048250"/>
                  <a:gd name="connsiteX1627" fmla="*/ 4607261 w 5514975"/>
                  <a:gd name="connsiteY1627" fmla="*/ 2822722 h 5048250"/>
                  <a:gd name="connsiteX1628" fmla="*/ 4603451 w 5514975"/>
                  <a:gd name="connsiteY1628" fmla="*/ 2829770 h 5048250"/>
                  <a:gd name="connsiteX1629" fmla="*/ 4595069 w 5514975"/>
                  <a:gd name="connsiteY1629" fmla="*/ 2835200 h 5048250"/>
                  <a:gd name="connsiteX1630" fmla="*/ 4526394 w 5514975"/>
                  <a:gd name="connsiteY1630" fmla="*/ 2836343 h 5048250"/>
                  <a:gd name="connsiteX1631" fmla="*/ 4513630 w 5514975"/>
                  <a:gd name="connsiteY1631" fmla="*/ 2838057 h 5048250"/>
                  <a:gd name="connsiteX1632" fmla="*/ 4490675 w 5514975"/>
                  <a:gd name="connsiteY1632" fmla="*/ 2840819 h 5048250"/>
                  <a:gd name="connsiteX1633" fmla="*/ 4475435 w 5514975"/>
                  <a:gd name="connsiteY1633" fmla="*/ 2830723 h 5048250"/>
                  <a:gd name="connsiteX1634" fmla="*/ 4461052 w 5514975"/>
                  <a:gd name="connsiteY1634" fmla="*/ 2820626 h 5048250"/>
                  <a:gd name="connsiteX1635" fmla="*/ 4416856 w 5514975"/>
                  <a:gd name="connsiteY1635" fmla="*/ 2792528 h 5048250"/>
                  <a:gd name="connsiteX1636" fmla="*/ 4316177 w 5514975"/>
                  <a:gd name="connsiteY1636" fmla="*/ 2739187 h 5048250"/>
                  <a:gd name="connsiteX1637" fmla="*/ 4394282 w 5514975"/>
                  <a:gd name="connsiteY1637" fmla="*/ 2725281 h 5048250"/>
                  <a:gd name="connsiteX1638" fmla="*/ 4497342 w 5514975"/>
                  <a:gd name="connsiteY1638" fmla="*/ 2695658 h 5048250"/>
                  <a:gd name="connsiteX1639" fmla="*/ 4514202 w 5514975"/>
                  <a:gd name="connsiteY1639" fmla="*/ 2695087 h 5048250"/>
                  <a:gd name="connsiteX1640" fmla="*/ 4547825 w 5514975"/>
                  <a:gd name="connsiteY1640" fmla="*/ 2696325 h 5048250"/>
                  <a:gd name="connsiteX1641" fmla="*/ 4618691 w 5514975"/>
                  <a:gd name="connsiteY1641" fmla="*/ 2687276 h 5048250"/>
                  <a:gd name="connsiteX1642" fmla="*/ 4673650 w 5514975"/>
                  <a:gd name="connsiteY1642" fmla="*/ 2658987 h 5048250"/>
                  <a:gd name="connsiteX1643" fmla="*/ 4717656 w 5514975"/>
                  <a:gd name="connsiteY1643" fmla="*/ 2608886 h 5048250"/>
                  <a:gd name="connsiteX1644" fmla="*/ 4746802 w 5514975"/>
                  <a:gd name="connsiteY1644" fmla="*/ 2562022 h 5048250"/>
                  <a:gd name="connsiteX1645" fmla="*/ 4753565 w 5514975"/>
                  <a:gd name="connsiteY1645" fmla="*/ 2536686 h 5048250"/>
                  <a:gd name="connsiteX1646" fmla="*/ 4747183 w 5514975"/>
                  <a:gd name="connsiteY1646" fmla="*/ 2540591 h 5048250"/>
                  <a:gd name="connsiteX1647" fmla="*/ 4728705 w 5514975"/>
                  <a:gd name="connsiteY1647" fmla="*/ 2542306 h 5048250"/>
                  <a:gd name="connsiteX1648" fmla="*/ 4639646 w 5514975"/>
                  <a:gd name="connsiteY1648" fmla="*/ 2556688 h 5048250"/>
                  <a:gd name="connsiteX1649" fmla="*/ 4524203 w 5514975"/>
                  <a:gd name="connsiteY1649" fmla="*/ 2630126 h 5048250"/>
                  <a:gd name="connsiteX1650" fmla="*/ 4512964 w 5514975"/>
                  <a:gd name="connsiteY1650" fmla="*/ 2648319 h 5048250"/>
                  <a:gd name="connsiteX1651" fmla="*/ 4496485 w 5514975"/>
                  <a:gd name="connsiteY1651" fmla="*/ 2681752 h 5048250"/>
                  <a:gd name="connsiteX1652" fmla="*/ 4459052 w 5514975"/>
                  <a:gd name="connsiteY1652" fmla="*/ 2696801 h 5048250"/>
                  <a:gd name="connsiteX1653" fmla="*/ 4426667 w 5514975"/>
                  <a:gd name="connsiteY1653" fmla="*/ 2705088 h 5048250"/>
                  <a:gd name="connsiteX1654" fmla="*/ 4336941 w 5514975"/>
                  <a:gd name="connsiteY1654" fmla="*/ 2721090 h 5048250"/>
                  <a:gd name="connsiteX1655" fmla="*/ 4298841 w 5514975"/>
                  <a:gd name="connsiteY1655" fmla="*/ 2728329 h 5048250"/>
                  <a:gd name="connsiteX1656" fmla="*/ 4276553 w 5514975"/>
                  <a:gd name="connsiteY1656" fmla="*/ 2722423 h 5048250"/>
                  <a:gd name="connsiteX1657" fmla="*/ 4224832 w 5514975"/>
                  <a:gd name="connsiteY1657" fmla="*/ 2704421 h 5048250"/>
                  <a:gd name="connsiteX1658" fmla="*/ 4238548 w 5514975"/>
                  <a:gd name="connsiteY1658" fmla="*/ 2682037 h 5048250"/>
                  <a:gd name="connsiteX1659" fmla="*/ 4255979 w 5514975"/>
                  <a:gd name="connsiteY1659" fmla="*/ 2657368 h 5048250"/>
                  <a:gd name="connsiteX1660" fmla="*/ 4277601 w 5514975"/>
                  <a:gd name="connsiteY1660" fmla="*/ 2631079 h 5048250"/>
                  <a:gd name="connsiteX1661" fmla="*/ 4297317 w 5514975"/>
                  <a:gd name="connsiteY1661" fmla="*/ 2614981 h 5048250"/>
                  <a:gd name="connsiteX1662" fmla="*/ 4377708 w 5514975"/>
                  <a:gd name="connsiteY1662" fmla="*/ 2575738 h 5048250"/>
                  <a:gd name="connsiteX1663" fmla="*/ 4434001 w 5514975"/>
                  <a:gd name="connsiteY1663" fmla="*/ 2506206 h 5048250"/>
                  <a:gd name="connsiteX1664" fmla="*/ 4455718 w 5514975"/>
                  <a:gd name="connsiteY1664" fmla="*/ 2454580 h 5048250"/>
                  <a:gd name="connsiteX1665" fmla="*/ 4465339 w 5514975"/>
                  <a:gd name="connsiteY1665" fmla="*/ 2398478 h 5048250"/>
                  <a:gd name="connsiteX1666" fmla="*/ 4453147 w 5514975"/>
                  <a:gd name="connsiteY1666" fmla="*/ 2406194 h 5048250"/>
                  <a:gd name="connsiteX1667" fmla="*/ 4434192 w 5514975"/>
                  <a:gd name="connsiteY1667" fmla="*/ 2415433 h 5048250"/>
                  <a:gd name="connsiteX1668" fmla="*/ 4387138 w 5514975"/>
                  <a:gd name="connsiteY1668" fmla="*/ 2437436 h 5048250"/>
                  <a:gd name="connsiteX1669" fmla="*/ 4324273 w 5514975"/>
                  <a:gd name="connsiteY1669" fmla="*/ 2486108 h 5048250"/>
                  <a:gd name="connsiteX1670" fmla="*/ 4283792 w 5514975"/>
                  <a:gd name="connsiteY1670" fmla="*/ 2572024 h 5048250"/>
                  <a:gd name="connsiteX1671" fmla="*/ 4283697 w 5514975"/>
                  <a:gd name="connsiteY1671" fmla="*/ 2597932 h 5048250"/>
                  <a:gd name="connsiteX1672" fmla="*/ 4282458 w 5514975"/>
                  <a:gd name="connsiteY1672" fmla="*/ 2608600 h 5048250"/>
                  <a:gd name="connsiteX1673" fmla="*/ 4263885 w 5514975"/>
                  <a:gd name="connsiteY1673" fmla="*/ 2628126 h 5048250"/>
                  <a:gd name="connsiteX1674" fmla="*/ 4222927 w 5514975"/>
                  <a:gd name="connsiteY1674" fmla="*/ 2682895 h 5048250"/>
                  <a:gd name="connsiteX1675" fmla="*/ 4209878 w 5514975"/>
                  <a:gd name="connsiteY1675" fmla="*/ 2700611 h 5048250"/>
                  <a:gd name="connsiteX1676" fmla="*/ 4201496 w 5514975"/>
                  <a:gd name="connsiteY1676" fmla="*/ 2698611 h 5048250"/>
                  <a:gd name="connsiteX1677" fmla="*/ 4185589 w 5514975"/>
                  <a:gd name="connsiteY1677" fmla="*/ 2695277 h 5048250"/>
                  <a:gd name="connsiteX1678" fmla="*/ 4063764 w 5514975"/>
                  <a:gd name="connsiteY1678" fmla="*/ 2700326 h 5048250"/>
                  <a:gd name="connsiteX1679" fmla="*/ 3907078 w 5514975"/>
                  <a:gd name="connsiteY1679" fmla="*/ 2725757 h 5048250"/>
                  <a:gd name="connsiteX1680" fmla="*/ 3766108 w 5514975"/>
                  <a:gd name="connsiteY1680" fmla="*/ 2760238 h 5048250"/>
                  <a:gd name="connsiteX1681" fmla="*/ 3689337 w 5514975"/>
                  <a:gd name="connsiteY1681" fmla="*/ 2777002 h 5048250"/>
                  <a:gd name="connsiteX1682" fmla="*/ 3599040 w 5514975"/>
                  <a:gd name="connsiteY1682" fmla="*/ 2798243 h 5048250"/>
                  <a:gd name="connsiteX1683" fmla="*/ 3429209 w 5514975"/>
                  <a:gd name="connsiteY1683" fmla="*/ 2835390 h 5048250"/>
                  <a:gd name="connsiteX1684" fmla="*/ 3283667 w 5514975"/>
                  <a:gd name="connsiteY1684" fmla="*/ 2859107 h 5048250"/>
                  <a:gd name="connsiteX1685" fmla="*/ 2995631 w 5514975"/>
                  <a:gd name="connsiteY1685" fmla="*/ 2874538 h 5048250"/>
                  <a:gd name="connsiteX1686" fmla="*/ 2833991 w 5514975"/>
                  <a:gd name="connsiteY1686" fmla="*/ 2849963 h 5048250"/>
                  <a:gd name="connsiteX1687" fmla="*/ 2681496 w 5514975"/>
                  <a:gd name="connsiteY1687" fmla="*/ 2805958 h 5048250"/>
                  <a:gd name="connsiteX1688" fmla="*/ 2590437 w 5514975"/>
                  <a:gd name="connsiteY1688" fmla="*/ 2774811 h 5048250"/>
                  <a:gd name="connsiteX1689" fmla="*/ 2524524 w 5514975"/>
                  <a:gd name="connsiteY1689" fmla="*/ 2746427 h 5048250"/>
                  <a:gd name="connsiteX1690" fmla="*/ 2416892 w 5514975"/>
                  <a:gd name="connsiteY1690" fmla="*/ 2698992 h 5048250"/>
                  <a:gd name="connsiteX1691" fmla="*/ 2355170 w 5514975"/>
                  <a:gd name="connsiteY1691" fmla="*/ 2675846 h 5048250"/>
                  <a:gd name="connsiteX1692" fmla="*/ 2289162 w 5514975"/>
                  <a:gd name="connsiteY1692" fmla="*/ 2649081 h 5048250"/>
                  <a:gd name="connsiteX1693" fmla="*/ 2201055 w 5514975"/>
                  <a:gd name="connsiteY1693" fmla="*/ 2620220 h 5048250"/>
                  <a:gd name="connsiteX1694" fmla="*/ 2143524 w 5514975"/>
                  <a:gd name="connsiteY1694" fmla="*/ 2598979 h 5048250"/>
                  <a:gd name="connsiteX1695" fmla="*/ 2055323 w 5514975"/>
                  <a:gd name="connsiteY1695" fmla="*/ 2575358 h 5048250"/>
                  <a:gd name="connsiteX1696" fmla="*/ 2063229 w 5514975"/>
                  <a:gd name="connsiteY1696" fmla="*/ 2551736 h 5048250"/>
                  <a:gd name="connsiteX1697" fmla="*/ 2094566 w 5514975"/>
                  <a:gd name="connsiteY1697" fmla="*/ 2505349 h 5048250"/>
                  <a:gd name="connsiteX1698" fmla="*/ 2146572 w 5514975"/>
                  <a:gd name="connsiteY1698" fmla="*/ 2446865 h 5048250"/>
                  <a:gd name="connsiteX1699" fmla="*/ 2166289 w 5514975"/>
                  <a:gd name="connsiteY1699" fmla="*/ 2428196 h 5048250"/>
                  <a:gd name="connsiteX1700" fmla="*/ 2177624 w 5514975"/>
                  <a:gd name="connsiteY1700" fmla="*/ 2425244 h 5048250"/>
                  <a:gd name="connsiteX1701" fmla="*/ 2195340 w 5514975"/>
                  <a:gd name="connsiteY1701" fmla="*/ 2428577 h 5048250"/>
                  <a:gd name="connsiteX1702" fmla="*/ 2246871 w 5514975"/>
                  <a:gd name="connsiteY1702" fmla="*/ 2433149 h 5048250"/>
                  <a:gd name="connsiteX1703" fmla="*/ 2308878 w 5514975"/>
                  <a:gd name="connsiteY1703" fmla="*/ 2428768 h 5048250"/>
                  <a:gd name="connsiteX1704" fmla="*/ 2335263 w 5514975"/>
                  <a:gd name="connsiteY1704" fmla="*/ 2422672 h 5048250"/>
                  <a:gd name="connsiteX1705" fmla="*/ 2348693 w 5514975"/>
                  <a:gd name="connsiteY1705" fmla="*/ 2419338 h 5048250"/>
                  <a:gd name="connsiteX1706" fmla="*/ 2358885 w 5514975"/>
                  <a:gd name="connsiteY1706" fmla="*/ 2429911 h 5048250"/>
                  <a:gd name="connsiteX1707" fmla="*/ 2549099 w 5514975"/>
                  <a:gd name="connsiteY1707" fmla="*/ 2399050 h 5048250"/>
                  <a:gd name="connsiteX1708" fmla="*/ 2581674 w 5514975"/>
                  <a:gd name="connsiteY1708" fmla="*/ 2353806 h 5048250"/>
                  <a:gd name="connsiteX1709" fmla="*/ 2587294 w 5514975"/>
                  <a:gd name="connsiteY1709" fmla="*/ 2344090 h 5048250"/>
                  <a:gd name="connsiteX1710" fmla="*/ 2595866 w 5514975"/>
                  <a:gd name="connsiteY1710" fmla="*/ 2334089 h 5048250"/>
                  <a:gd name="connsiteX1711" fmla="*/ 2582627 w 5514975"/>
                  <a:gd name="connsiteY1711" fmla="*/ 2327707 h 5048250"/>
                  <a:gd name="connsiteX1712" fmla="*/ 2480709 w 5514975"/>
                  <a:gd name="connsiteY1712" fmla="*/ 2308181 h 5048250"/>
                  <a:gd name="connsiteX1713" fmla="*/ 2381554 w 5514975"/>
                  <a:gd name="connsiteY1713" fmla="*/ 2334851 h 5048250"/>
                  <a:gd name="connsiteX1714" fmla="*/ 2340597 w 5514975"/>
                  <a:gd name="connsiteY1714" fmla="*/ 2402193 h 5048250"/>
                  <a:gd name="connsiteX1715" fmla="*/ 2265730 w 5514975"/>
                  <a:gd name="connsiteY1715" fmla="*/ 2413242 h 5048250"/>
                  <a:gd name="connsiteX1716" fmla="*/ 2188959 w 5514975"/>
                  <a:gd name="connsiteY1716" fmla="*/ 2407813 h 5048250"/>
                  <a:gd name="connsiteX1717" fmla="*/ 2281827 w 5514975"/>
                  <a:gd name="connsiteY1717" fmla="*/ 2340757 h 5048250"/>
                  <a:gd name="connsiteX1718" fmla="*/ 2353074 w 5514975"/>
                  <a:gd name="connsiteY1718" fmla="*/ 2307991 h 5048250"/>
                  <a:gd name="connsiteX1719" fmla="*/ 2467565 w 5514975"/>
                  <a:gd name="connsiteY1719" fmla="*/ 2267795 h 5048250"/>
                  <a:gd name="connsiteX1720" fmla="*/ 2535192 w 5514975"/>
                  <a:gd name="connsiteY1720" fmla="*/ 2248936 h 5048250"/>
                  <a:gd name="connsiteX1721" fmla="*/ 2576436 w 5514975"/>
                  <a:gd name="connsiteY1721" fmla="*/ 2243792 h 5048250"/>
                  <a:gd name="connsiteX1722" fmla="*/ 2617012 w 5514975"/>
                  <a:gd name="connsiteY1722" fmla="*/ 2238173 h 5048250"/>
                  <a:gd name="connsiteX1723" fmla="*/ 2703404 w 5514975"/>
                  <a:gd name="connsiteY1723" fmla="*/ 2231600 h 5048250"/>
                  <a:gd name="connsiteX1724" fmla="*/ 2799511 w 5514975"/>
                  <a:gd name="connsiteY1724" fmla="*/ 2229028 h 5048250"/>
                  <a:gd name="connsiteX1725" fmla="*/ 3192798 w 5514975"/>
                  <a:gd name="connsiteY1725" fmla="*/ 2217979 h 5048250"/>
                  <a:gd name="connsiteX1726" fmla="*/ 3221659 w 5514975"/>
                  <a:gd name="connsiteY1726" fmla="*/ 2216170 h 5048250"/>
                  <a:gd name="connsiteX1727" fmla="*/ 3243090 w 5514975"/>
                  <a:gd name="connsiteY1727" fmla="*/ 2214646 h 5048250"/>
                  <a:gd name="connsiteX1728" fmla="*/ 3248043 w 5514975"/>
                  <a:gd name="connsiteY1728" fmla="*/ 2217884 h 5048250"/>
                  <a:gd name="connsiteX1729" fmla="*/ 3249948 w 5514975"/>
                  <a:gd name="connsiteY1729" fmla="*/ 2222647 h 5048250"/>
                  <a:gd name="connsiteX1730" fmla="*/ 3260331 w 5514975"/>
                  <a:gd name="connsiteY1730" fmla="*/ 2250174 h 5048250"/>
                  <a:gd name="connsiteX1731" fmla="*/ 3276428 w 5514975"/>
                  <a:gd name="connsiteY1731" fmla="*/ 2312182 h 5048250"/>
                  <a:gd name="connsiteX1732" fmla="*/ 3277571 w 5514975"/>
                  <a:gd name="connsiteY1732" fmla="*/ 2336566 h 5048250"/>
                  <a:gd name="connsiteX1733" fmla="*/ 3275380 w 5514975"/>
                  <a:gd name="connsiteY1733" fmla="*/ 2363617 h 5048250"/>
                  <a:gd name="connsiteX1734" fmla="*/ 3264331 w 5514975"/>
                  <a:gd name="connsiteY1734" fmla="*/ 2366474 h 5048250"/>
                  <a:gd name="connsiteX1735" fmla="*/ 3251377 w 5514975"/>
                  <a:gd name="connsiteY1735" fmla="*/ 2373237 h 5048250"/>
                  <a:gd name="connsiteX1736" fmla="*/ 3234613 w 5514975"/>
                  <a:gd name="connsiteY1736" fmla="*/ 2390858 h 5048250"/>
                  <a:gd name="connsiteX1737" fmla="*/ 3218325 w 5514975"/>
                  <a:gd name="connsiteY1737" fmla="*/ 2450104 h 5048250"/>
                  <a:gd name="connsiteX1738" fmla="*/ 3264807 w 5514975"/>
                  <a:gd name="connsiteY1738" fmla="*/ 2547830 h 5048250"/>
                  <a:gd name="connsiteX1739" fmla="*/ 3276142 w 5514975"/>
                  <a:gd name="connsiteY1739" fmla="*/ 2559070 h 5048250"/>
                  <a:gd name="connsiteX1740" fmla="*/ 3286715 w 5514975"/>
                  <a:gd name="connsiteY1740" fmla="*/ 2563737 h 5048250"/>
                  <a:gd name="connsiteX1741" fmla="*/ 3300145 w 5514975"/>
                  <a:gd name="connsiteY1741" fmla="*/ 2534495 h 5048250"/>
                  <a:gd name="connsiteX1742" fmla="*/ 3319290 w 5514975"/>
                  <a:gd name="connsiteY1742" fmla="*/ 2490299 h 5048250"/>
                  <a:gd name="connsiteX1743" fmla="*/ 3331578 w 5514975"/>
                  <a:gd name="connsiteY1743" fmla="*/ 2435721 h 5048250"/>
                  <a:gd name="connsiteX1744" fmla="*/ 3323767 w 5514975"/>
                  <a:gd name="connsiteY1744" fmla="*/ 2393144 h 5048250"/>
                  <a:gd name="connsiteX1745" fmla="*/ 3307194 w 5514975"/>
                  <a:gd name="connsiteY1745" fmla="*/ 2371903 h 5048250"/>
                  <a:gd name="connsiteX1746" fmla="*/ 3298049 w 5514975"/>
                  <a:gd name="connsiteY1746" fmla="*/ 2367141 h 5048250"/>
                  <a:gd name="connsiteX1747" fmla="*/ 3293668 w 5514975"/>
                  <a:gd name="connsiteY1747" fmla="*/ 2362855 h 5048250"/>
                  <a:gd name="connsiteX1748" fmla="*/ 3295383 w 5514975"/>
                  <a:gd name="connsiteY1748" fmla="*/ 2345995 h 5048250"/>
                  <a:gd name="connsiteX1749" fmla="*/ 3296049 w 5514975"/>
                  <a:gd name="connsiteY1749" fmla="*/ 2319421 h 5048250"/>
                  <a:gd name="connsiteX1750" fmla="*/ 3288048 w 5514975"/>
                  <a:gd name="connsiteY1750" fmla="*/ 2266462 h 5048250"/>
                  <a:gd name="connsiteX1751" fmla="*/ 3270713 w 5514975"/>
                  <a:gd name="connsiteY1751" fmla="*/ 2211693 h 5048250"/>
                  <a:gd name="connsiteX1752" fmla="*/ 3300716 w 5514975"/>
                  <a:gd name="connsiteY1752" fmla="*/ 2208645 h 5048250"/>
                  <a:gd name="connsiteX1753" fmla="*/ 3322910 w 5514975"/>
                  <a:gd name="connsiteY1753" fmla="*/ 2216932 h 5048250"/>
                  <a:gd name="connsiteX1754" fmla="*/ 3369297 w 5514975"/>
                  <a:gd name="connsiteY1754" fmla="*/ 2242363 h 5048250"/>
                  <a:gd name="connsiteX1755" fmla="*/ 3443877 w 5514975"/>
                  <a:gd name="connsiteY1755" fmla="*/ 2303800 h 5048250"/>
                  <a:gd name="connsiteX1756" fmla="*/ 3449688 w 5514975"/>
                  <a:gd name="connsiteY1756" fmla="*/ 2313611 h 5048250"/>
                  <a:gd name="connsiteX1757" fmla="*/ 3443211 w 5514975"/>
                  <a:gd name="connsiteY1757" fmla="*/ 2322945 h 5048250"/>
                  <a:gd name="connsiteX1758" fmla="*/ 3435876 w 5514975"/>
                  <a:gd name="connsiteY1758" fmla="*/ 2348282 h 5048250"/>
                  <a:gd name="connsiteX1759" fmla="*/ 3439877 w 5514975"/>
                  <a:gd name="connsiteY1759" fmla="*/ 2399907 h 5048250"/>
                  <a:gd name="connsiteX1760" fmla="*/ 3469976 w 5514975"/>
                  <a:gd name="connsiteY1760" fmla="*/ 2455438 h 5048250"/>
                  <a:gd name="connsiteX1761" fmla="*/ 3525792 w 5514975"/>
                  <a:gd name="connsiteY1761" fmla="*/ 2492776 h 5048250"/>
                  <a:gd name="connsiteX1762" fmla="*/ 3599897 w 5514975"/>
                  <a:gd name="connsiteY1762" fmla="*/ 2514874 h 5048250"/>
                  <a:gd name="connsiteX1763" fmla="*/ 3642093 w 5514975"/>
                  <a:gd name="connsiteY1763" fmla="*/ 2516684 h 5048250"/>
                  <a:gd name="connsiteX1764" fmla="*/ 3660762 w 5514975"/>
                  <a:gd name="connsiteY1764" fmla="*/ 2508302 h 5048250"/>
                  <a:gd name="connsiteX1765" fmla="*/ 3655523 w 5514975"/>
                  <a:gd name="connsiteY1765" fmla="*/ 2503063 h 5048250"/>
                  <a:gd name="connsiteX1766" fmla="*/ 3647617 w 5514975"/>
                  <a:gd name="connsiteY1766" fmla="*/ 2491537 h 5048250"/>
                  <a:gd name="connsiteX1767" fmla="*/ 3534079 w 5514975"/>
                  <a:gd name="connsiteY1767" fmla="*/ 2311324 h 5048250"/>
                  <a:gd name="connsiteX1768" fmla="*/ 3482930 w 5514975"/>
                  <a:gd name="connsiteY1768" fmla="*/ 2299228 h 5048250"/>
                  <a:gd name="connsiteX1769" fmla="*/ 3478739 w 5514975"/>
                  <a:gd name="connsiteY1769" fmla="*/ 2299228 h 5048250"/>
                  <a:gd name="connsiteX1770" fmla="*/ 3464928 w 5514975"/>
                  <a:gd name="connsiteY1770" fmla="*/ 2301704 h 5048250"/>
                  <a:gd name="connsiteX1771" fmla="*/ 3461403 w 5514975"/>
                  <a:gd name="connsiteY1771" fmla="*/ 2296656 h 5048250"/>
                  <a:gd name="connsiteX1772" fmla="*/ 3450259 w 5514975"/>
                  <a:gd name="connsiteY1772" fmla="*/ 2282178 h 5048250"/>
                  <a:gd name="connsiteX1773" fmla="*/ 3339388 w 5514975"/>
                  <a:gd name="connsiteY1773" fmla="*/ 2200644 h 5048250"/>
                  <a:gd name="connsiteX1774" fmla="*/ 3561130 w 5514975"/>
                  <a:gd name="connsiteY1774" fmla="*/ 2143018 h 5048250"/>
                  <a:gd name="connsiteX1775" fmla="*/ 3754202 w 5514975"/>
                  <a:gd name="connsiteY1775" fmla="*/ 2099393 h 5048250"/>
                  <a:gd name="connsiteX1776" fmla="*/ 3898696 w 5514975"/>
                  <a:gd name="connsiteY1776" fmla="*/ 2092821 h 5048250"/>
                  <a:gd name="connsiteX1777" fmla="*/ 3931843 w 5514975"/>
                  <a:gd name="connsiteY1777" fmla="*/ 2093964 h 5048250"/>
                  <a:gd name="connsiteX1778" fmla="*/ 3958323 w 5514975"/>
                  <a:gd name="connsiteY1778" fmla="*/ 2102917 h 5048250"/>
                  <a:gd name="connsiteX1779" fmla="*/ 3986326 w 5514975"/>
                  <a:gd name="connsiteY1779" fmla="*/ 2124539 h 5048250"/>
                  <a:gd name="connsiteX1780" fmla="*/ 4003281 w 5514975"/>
                  <a:gd name="connsiteY1780" fmla="*/ 2139398 h 5048250"/>
                  <a:gd name="connsiteX1781" fmla="*/ 4011282 w 5514975"/>
                  <a:gd name="connsiteY1781" fmla="*/ 2147495 h 5048250"/>
                  <a:gd name="connsiteX1782" fmla="*/ 4014044 w 5514975"/>
                  <a:gd name="connsiteY1782" fmla="*/ 2154353 h 5048250"/>
                  <a:gd name="connsiteX1783" fmla="*/ 4035189 w 5514975"/>
                  <a:gd name="connsiteY1783" fmla="*/ 2225219 h 5048250"/>
                  <a:gd name="connsiteX1784" fmla="*/ 4085386 w 5514975"/>
                  <a:gd name="connsiteY1784" fmla="*/ 2267224 h 5048250"/>
                  <a:gd name="connsiteX1785" fmla="*/ 4155490 w 5514975"/>
                  <a:gd name="connsiteY1785" fmla="*/ 2291132 h 5048250"/>
                  <a:gd name="connsiteX1786" fmla="*/ 4178636 w 5514975"/>
                  <a:gd name="connsiteY1786" fmla="*/ 2294846 h 5048250"/>
                  <a:gd name="connsiteX1787" fmla="*/ 4188351 w 5514975"/>
                  <a:gd name="connsiteY1787" fmla="*/ 2275034 h 5048250"/>
                  <a:gd name="connsiteX1788" fmla="*/ 4157776 w 5514975"/>
                  <a:gd name="connsiteY1788" fmla="*/ 2197786 h 5048250"/>
                  <a:gd name="connsiteX1789" fmla="*/ 4082243 w 5514975"/>
                  <a:gd name="connsiteY1789" fmla="*/ 2143780 h 5048250"/>
                  <a:gd name="connsiteX1790" fmla="*/ 4037094 w 5514975"/>
                  <a:gd name="connsiteY1790" fmla="*/ 2139494 h 5048250"/>
                  <a:gd name="connsiteX1791" fmla="*/ 4029189 w 5514975"/>
                  <a:gd name="connsiteY1791" fmla="*/ 2140636 h 5048250"/>
                  <a:gd name="connsiteX1792" fmla="*/ 4023855 w 5514975"/>
                  <a:gd name="connsiteY1792" fmla="*/ 2141017 h 5048250"/>
                  <a:gd name="connsiteX1793" fmla="*/ 4017282 w 5514975"/>
                  <a:gd name="connsiteY1793" fmla="*/ 2135493 h 5048250"/>
                  <a:gd name="connsiteX1794" fmla="*/ 3963561 w 5514975"/>
                  <a:gd name="connsiteY1794" fmla="*/ 2094631 h 5048250"/>
                  <a:gd name="connsiteX1795" fmla="*/ 4103007 w 5514975"/>
                  <a:gd name="connsiteY1795" fmla="*/ 2101870 h 5048250"/>
                  <a:gd name="connsiteX1796" fmla="*/ 4153585 w 5514975"/>
                  <a:gd name="connsiteY1796" fmla="*/ 2105299 h 5048250"/>
                  <a:gd name="connsiteX1797" fmla="*/ 4193876 w 5514975"/>
                  <a:gd name="connsiteY1797" fmla="*/ 2110252 h 5048250"/>
                  <a:gd name="connsiteX1798" fmla="*/ 4259789 w 5514975"/>
                  <a:gd name="connsiteY1798" fmla="*/ 2118348 h 5048250"/>
                  <a:gd name="connsiteX1799" fmla="*/ 4408760 w 5514975"/>
                  <a:gd name="connsiteY1799" fmla="*/ 2146637 h 5048250"/>
                  <a:gd name="connsiteX1800" fmla="*/ 4444193 w 5514975"/>
                  <a:gd name="connsiteY1800" fmla="*/ 2154162 h 5048250"/>
                  <a:gd name="connsiteX1801" fmla="*/ 4474101 w 5514975"/>
                  <a:gd name="connsiteY1801" fmla="*/ 2168545 h 5048250"/>
                  <a:gd name="connsiteX1802" fmla="*/ 4548397 w 5514975"/>
                  <a:gd name="connsiteY1802" fmla="*/ 2208931 h 5048250"/>
                  <a:gd name="connsiteX1803" fmla="*/ 4581829 w 5514975"/>
                  <a:gd name="connsiteY1803" fmla="*/ 2226266 h 5048250"/>
                  <a:gd name="connsiteX1804" fmla="*/ 4611166 w 5514975"/>
                  <a:gd name="connsiteY1804" fmla="*/ 2243602 h 5048250"/>
                  <a:gd name="connsiteX1805" fmla="*/ 4629359 w 5514975"/>
                  <a:gd name="connsiteY1805" fmla="*/ 2256270 h 5048250"/>
                  <a:gd name="connsiteX1806" fmla="*/ 4642027 w 5514975"/>
                  <a:gd name="connsiteY1806" fmla="*/ 2274272 h 5048250"/>
                  <a:gd name="connsiteX1807" fmla="*/ 4656981 w 5514975"/>
                  <a:gd name="connsiteY1807" fmla="*/ 2294179 h 5048250"/>
                  <a:gd name="connsiteX1808" fmla="*/ 4729467 w 5514975"/>
                  <a:gd name="connsiteY1808" fmla="*/ 2352473 h 5048250"/>
                  <a:gd name="connsiteX1809" fmla="*/ 4817382 w 5514975"/>
                  <a:gd name="connsiteY1809" fmla="*/ 2362664 h 5048250"/>
                  <a:gd name="connsiteX1810" fmla="*/ 4879295 w 5514975"/>
                  <a:gd name="connsiteY1810" fmla="*/ 2344090 h 5048250"/>
                  <a:gd name="connsiteX1811" fmla="*/ 4908346 w 5514975"/>
                  <a:gd name="connsiteY1811" fmla="*/ 2327041 h 5048250"/>
                  <a:gd name="connsiteX1812" fmla="*/ 4913299 w 5514975"/>
                  <a:gd name="connsiteY1812" fmla="*/ 2316658 h 5048250"/>
                  <a:gd name="connsiteX1813" fmla="*/ 4905870 w 5514975"/>
                  <a:gd name="connsiteY1813" fmla="*/ 2314849 h 5048250"/>
                  <a:gd name="connsiteX1814" fmla="*/ 4852339 w 5514975"/>
                  <a:gd name="connsiteY1814" fmla="*/ 2286464 h 5048250"/>
                  <a:gd name="connsiteX1815" fmla="*/ 4799475 w 5514975"/>
                  <a:gd name="connsiteY1815" fmla="*/ 2252841 h 5048250"/>
                  <a:gd name="connsiteX1816" fmla="*/ 4714989 w 5514975"/>
                  <a:gd name="connsiteY1816" fmla="*/ 2222456 h 5048250"/>
                  <a:gd name="connsiteX1817" fmla="*/ 4675841 w 5514975"/>
                  <a:gd name="connsiteY1817" fmla="*/ 2228076 h 5048250"/>
                  <a:gd name="connsiteX1818" fmla="*/ 4654410 w 5514975"/>
                  <a:gd name="connsiteY1818" fmla="*/ 2235601 h 5048250"/>
                  <a:gd name="connsiteX1819" fmla="*/ 4645171 w 5514975"/>
                  <a:gd name="connsiteY1819" fmla="*/ 2239220 h 5048250"/>
                  <a:gd name="connsiteX1820" fmla="*/ 4622691 w 5514975"/>
                  <a:gd name="connsiteY1820" fmla="*/ 2230457 h 5048250"/>
                  <a:gd name="connsiteX1821" fmla="*/ 4605547 w 5514975"/>
                  <a:gd name="connsiteY1821" fmla="*/ 2223218 h 5048250"/>
                  <a:gd name="connsiteX1822" fmla="*/ 4580591 w 5514975"/>
                  <a:gd name="connsiteY1822" fmla="*/ 2211598 h 5048250"/>
                  <a:gd name="connsiteX1823" fmla="*/ 4537729 w 5514975"/>
                  <a:gd name="connsiteY1823" fmla="*/ 2189500 h 5048250"/>
                  <a:gd name="connsiteX1824" fmla="*/ 4491247 w 5514975"/>
                  <a:gd name="connsiteY1824" fmla="*/ 2161591 h 5048250"/>
                  <a:gd name="connsiteX1825" fmla="*/ 4552683 w 5514975"/>
                  <a:gd name="connsiteY1825" fmla="*/ 2169211 h 5048250"/>
                  <a:gd name="connsiteX1826" fmla="*/ 4624501 w 5514975"/>
                  <a:gd name="connsiteY1826" fmla="*/ 2168926 h 5048250"/>
                  <a:gd name="connsiteX1827" fmla="*/ 4725752 w 5514975"/>
                  <a:gd name="connsiteY1827" fmla="*/ 2159496 h 5048250"/>
                  <a:gd name="connsiteX1828" fmla="*/ 4906346 w 5514975"/>
                  <a:gd name="connsiteY1828" fmla="*/ 2137398 h 5048250"/>
                  <a:gd name="connsiteX1829" fmla="*/ 5115515 w 5514975"/>
                  <a:gd name="connsiteY1829" fmla="*/ 2138922 h 5048250"/>
                  <a:gd name="connsiteX1830" fmla="*/ 5191905 w 5514975"/>
                  <a:gd name="connsiteY1830" fmla="*/ 2170640 h 5048250"/>
                  <a:gd name="connsiteX1831" fmla="*/ 5230387 w 5514975"/>
                  <a:gd name="connsiteY1831" fmla="*/ 2197882 h 5048250"/>
                  <a:gd name="connsiteX1832" fmla="*/ 5266486 w 5514975"/>
                  <a:gd name="connsiteY1832" fmla="*/ 2219123 h 5048250"/>
                  <a:gd name="connsiteX1833" fmla="*/ 5405075 w 5514975"/>
                  <a:gd name="connsiteY1833" fmla="*/ 2225123 h 5048250"/>
                  <a:gd name="connsiteX1834" fmla="*/ 5464797 w 5514975"/>
                  <a:gd name="connsiteY1834" fmla="*/ 2195500 h 5048250"/>
                  <a:gd name="connsiteX1835" fmla="*/ 5511946 w 5514975"/>
                  <a:gd name="connsiteY1835" fmla="*/ 2148066 h 5048250"/>
                  <a:gd name="connsiteX1836" fmla="*/ 2371077 w 5514975"/>
                  <a:gd name="connsiteY1836" fmla="*/ 912864 h 5048250"/>
                  <a:gd name="connsiteX1837" fmla="*/ 2370886 w 5514975"/>
                  <a:gd name="connsiteY1837" fmla="*/ 914293 h 5048250"/>
                  <a:gd name="connsiteX1838" fmla="*/ 2371077 w 5514975"/>
                  <a:gd name="connsiteY1838" fmla="*/ 912864 h 5048250"/>
                  <a:gd name="connsiteX1839" fmla="*/ 2371077 w 5514975"/>
                  <a:gd name="connsiteY1839" fmla="*/ 912864 h 5048250"/>
                  <a:gd name="connsiteX1840" fmla="*/ 2367933 w 5514975"/>
                  <a:gd name="connsiteY1840" fmla="*/ 959536 h 5048250"/>
                  <a:gd name="connsiteX1841" fmla="*/ 2368410 w 5514975"/>
                  <a:gd name="connsiteY1841" fmla="*/ 954393 h 5048250"/>
                  <a:gd name="connsiteX1842" fmla="*/ 2369648 w 5514975"/>
                  <a:gd name="connsiteY1842" fmla="*/ 957346 h 5048250"/>
                  <a:gd name="connsiteX1843" fmla="*/ 2367933 w 5514975"/>
                  <a:gd name="connsiteY1843" fmla="*/ 959536 h 5048250"/>
                  <a:gd name="connsiteX1844" fmla="*/ 2367933 w 5514975"/>
                  <a:gd name="connsiteY1844" fmla="*/ 959536 h 5048250"/>
                  <a:gd name="connsiteX1845" fmla="*/ 1532781 w 5514975"/>
                  <a:gd name="connsiteY1845" fmla="*/ 1506462 h 5048250"/>
                  <a:gd name="connsiteX1846" fmla="*/ 1533162 w 5514975"/>
                  <a:gd name="connsiteY1846" fmla="*/ 1504652 h 5048250"/>
                  <a:gd name="connsiteX1847" fmla="*/ 1532114 w 5514975"/>
                  <a:gd name="connsiteY1847" fmla="*/ 1512463 h 5048250"/>
                  <a:gd name="connsiteX1848" fmla="*/ 1532781 w 5514975"/>
                  <a:gd name="connsiteY1848" fmla="*/ 1506462 h 5048250"/>
                  <a:gd name="connsiteX1849" fmla="*/ 1532781 w 5514975"/>
                  <a:gd name="connsiteY1849" fmla="*/ 1506462 h 5048250"/>
                  <a:gd name="connsiteX1850" fmla="*/ 1251603 w 5514975"/>
                  <a:gd name="connsiteY1850" fmla="*/ 389275 h 5048250"/>
                  <a:gd name="connsiteX1851" fmla="*/ 1251603 w 5514975"/>
                  <a:gd name="connsiteY1851" fmla="*/ 389275 h 5048250"/>
                  <a:gd name="connsiteX1852" fmla="*/ 1251603 w 5514975"/>
                  <a:gd name="connsiteY1852" fmla="*/ 389275 h 5048250"/>
                  <a:gd name="connsiteX1853" fmla="*/ 816311 w 5514975"/>
                  <a:gd name="connsiteY1853" fmla="*/ 1430833 h 5048250"/>
                  <a:gd name="connsiteX1854" fmla="*/ 815453 w 5514975"/>
                  <a:gd name="connsiteY1854" fmla="*/ 1428928 h 5048250"/>
                  <a:gd name="connsiteX1855" fmla="*/ 821645 w 5514975"/>
                  <a:gd name="connsiteY1855" fmla="*/ 1441311 h 5048250"/>
                  <a:gd name="connsiteX1856" fmla="*/ 816311 w 5514975"/>
                  <a:gd name="connsiteY1856" fmla="*/ 1430833 h 5048250"/>
                  <a:gd name="connsiteX1857" fmla="*/ 816311 w 5514975"/>
                  <a:gd name="connsiteY1857" fmla="*/ 1430833 h 5048250"/>
                  <a:gd name="connsiteX1858" fmla="*/ 4429429 w 5514975"/>
                  <a:gd name="connsiteY1858" fmla="*/ 3011031 h 5048250"/>
                  <a:gd name="connsiteX1859" fmla="*/ 4429429 w 5514975"/>
                  <a:gd name="connsiteY1859" fmla="*/ 3011031 h 5048250"/>
                  <a:gd name="connsiteX1860" fmla="*/ 4429429 w 5514975"/>
                  <a:gd name="connsiteY1860" fmla="*/ 3011031 h 5048250"/>
                  <a:gd name="connsiteX1861" fmla="*/ 4429429 w 5514975"/>
                  <a:gd name="connsiteY1861" fmla="*/ 3010650 h 5048250"/>
                  <a:gd name="connsiteX1862" fmla="*/ 4429429 w 5514975"/>
                  <a:gd name="connsiteY1862" fmla="*/ 3010650 h 5048250"/>
                  <a:gd name="connsiteX1863" fmla="*/ 4429429 w 5514975"/>
                  <a:gd name="connsiteY1863" fmla="*/ 3010650 h 5048250"/>
                  <a:gd name="connsiteX1864" fmla="*/ 4421238 w 5514975"/>
                  <a:gd name="connsiteY1864" fmla="*/ 3011031 h 5048250"/>
                  <a:gd name="connsiteX1865" fmla="*/ 4421238 w 5514975"/>
                  <a:gd name="connsiteY1865" fmla="*/ 3011031 h 5048250"/>
                  <a:gd name="connsiteX1866" fmla="*/ 4421238 w 5514975"/>
                  <a:gd name="connsiteY1866" fmla="*/ 3011031 h 5048250"/>
                  <a:gd name="connsiteX1867" fmla="*/ 4164253 w 5514975"/>
                  <a:gd name="connsiteY1867" fmla="*/ 2232267 h 5048250"/>
                  <a:gd name="connsiteX1868" fmla="*/ 4163777 w 5514975"/>
                  <a:gd name="connsiteY1868" fmla="*/ 2231124 h 5048250"/>
                  <a:gd name="connsiteX1869" fmla="*/ 4164253 w 5514975"/>
                  <a:gd name="connsiteY1869" fmla="*/ 2232267 h 5048250"/>
                  <a:gd name="connsiteX1870" fmla="*/ 4164253 w 5514975"/>
                  <a:gd name="connsiteY1870" fmla="*/ 2232267 h 5048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</a:cxnLst>
                <a:rect l="l" t="t" r="r" b="b"/>
                <a:pathLst>
                  <a:path w="5514975" h="5048250">
                    <a:moveTo>
                      <a:pt x="5511946" y="2148066"/>
                    </a:moveTo>
                    <a:cubicBezTo>
                      <a:pt x="5511279" y="2147780"/>
                      <a:pt x="5512612" y="2148637"/>
                      <a:pt x="5511946" y="2148066"/>
                    </a:cubicBezTo>
                    <a:cubicBezTo>
                      <a:pt x="5504516" y="2144351"/>
                      <a:pt x="5494801" y="2143303"/>
                      <a:pt x="5486799" y="2140160"/>
                    </a:cubicBezTo>
                    <a:cubicBezTo>
                      <a:pt x="5481085" y="2137874"/>
                      <a:pt x="5475369" y="2135303"/>
                      <a:pt x="5469655" y="2132826"/>
                    </a:cubicBezTo>
                    <a:cubicBezTo>
                      <a:pt x="5457081" y="2127397"/>
                      <a:pt x="5444508" y="2121777"/>
                      <a:pt x="5431555" y="2117015"/>
                    </a:cubicBezTo>
                    <a:cubicBezTo>
                      <a:pt x="5398693" y="2104823"/>
                      <a:pt x="5363737" y="2096345"/>
                      <a:pt x="5328399" y="2099774"/>
                    </a:cubicBezTo>
                    <a:cubicBezTo>
                      <a:pt x="5298776" y="2102727"/>
                      <a:pt x="5273821" y="2114348"/>
                      <a:pt x="5247341" y="2126635"/>
                    </a:cubicBezTo>
                    <a:cubicBezTo>
                      <a:pt x="5236101" y="2131874"/>
                      <a:pt x="5228101" y="2138827"/>
                      <a:pt x="5218480" y="2146542"/>
                    </a:cubicBezTo>
                    <a:cubicBezTo>
                      <a:pt x="5215908" y="2148542"/>
                      <a:pt x="5211908" y="2153114"/>
                      <a:pt x="5209051" y="2153400"/>
                    </a:cubicBezTo>
                    <a:cubicBezTo>
                      <a:pt x="5206003" y="2153686"/>
                      <a:pt x="5197525" y="2149590"/>
                      <a:pt x="5195049" y="2148828"/>
                    </a:cubicBezTo>
                    <a:cubicBezTo>
                      <a:pt x="5181142" y="2144446"/>
                      <a:pt x="5168093" y="2137779"/>
                      <a:pt x="5154282" y="2133207"/>
                    </a:cubicBezTo>
                    <a:cubicBezTo>
                      <a:pt x="5141137" y="2128921"/>
                      <a:pt x="5127898" y="2124825"/>
                      <a:pt x="5114658" y="2120920"/>
                    </a:cubicBezTo>
                    <a:cubicBezTo>
                      <a:pt x="5122087" y="2121491"/>
                      <a:pt x="5132184" y="2114252"/>
                      <a:pt x="5138375" y="2110537"/>
                    </a:cubicBezTo>
                    <a:cubicBezTo>
                      <a:pt x="5147804" y="2105013"/>
                      <a:pt x="5157329" y="2099488"/>
                      <a:pt x="5166378" y="2093297"/>
                    </a:cubicBezTo>
                    <a:cubicBezTo>
                      <a:pt x="5180476" y="2083582"/>
                      <a:pt x="5193906" y="2072533"/>
                      <a:pt x="5205907" y="2060531"/>
                    </a:cubicBezTo>
                    <a:cubicBezTo>
                      <a:pt x="5209145" y="2057293"/>
                      <a:pt x="5212480" y="2054245"/>
                      <a:pt x="5215718" y="2051197"/>
                    </a:cubicBezTo>
                    <a:cubicBezTo>
                      <a:pt x="5220195" y="2047006"/>
                      <a:pt x="5223814" y="2046244"/>
                      <a:pt x="5229624" y="2044624"/>
                    </a:cubicBezTo>
                    <a:cubicBezTo>
                      <a:pt x="5240388" y="2041672"/>
                      <a:pt x="5250675" y="2037671"/>
                      <a:pt x="5260771" y="2032909"/>
                    </a:cubicBezTo>
                    <a:cubicBezTo>
                      <a:pt x="5279059" y="2024431"/>
                      <a:pt x="5294490" y="2013192"/>
                      <a:pt x="5309920" y="2000333"/>
                    </a:cubicBezTo>
                    <a:cubicBezTo>
                      <a:pt x="5342781" y="1972996"/>
                      <a:pt x="5362212" y="1937278"/>
                      <a:pt x="5382501" y="1900511"/>
                    </a:cubicBezTo>
                    <a:cubicBezTo>
                      <a:pt x="5393455" y="1880699"/>
                      <a:pt x="5405456" y="1861554"/>
                      <a:pt x="5415743" y="1841266"/>
                    </a:cubicBezTo>
                    <a:cubicBezTo>
                      <a:pt x="5419648" y="1833646"/>
                      <a:pt x="5422886" y="1825549"/>
                      <a:pt x="5426887" y="1818025"/>
                    </a:cubicBezTo>
                    <a:cubicBezTo>
                      <a:pt x="5428983" y="1814024"/>
                      <a:pt x="5435079" y="1807261"/>
                      <a:pt x="5427078" y="1805071"/>
                    </a:cubicBezTo>
                    <a:cubicBezTo>
                      <a:pt x="5423363" y="1804118"/>
                      <a:pt x="5417839" y="1807261"/>
                      <a:pt x="5414504" y="1808500"/>
                    </a:cubicBezTo>
                    <a:cubicBezTo>
                      <a:pt x="5408123" y="1810881"/>
                      <a:pt x="5401455" y="1812310"/>
                      <a:pt x="5394883" y="1814215"/>
                    </a:cubicBezTo>
                    <a:cubicBezTo>
                      <a:pt x="5380119" y="1818501"/>
                      <a:pt x="5365165" y="1822025"/>
                      <a:pt x="5350306" y="1826121"/>
                    </a:cubicBezTo>
                    <a:cubicBezTo>
                      <a:pt x="5311539" y="1836789"/>
                      <a:pt x="5275059" y="1851553"/>
                      <a:pt x="5247055" y="1881366"/>
                    </a:cubicBezTo>
                    <a:cubicBezTo>
                      <a:pt x="5215908" y="1914513"/>
                      <a:pt x="5198764" y="1960804"/>
                      <a:pt x="5201240" y="2006334"/>
                    </a:cubicBezTo>
                    <a:cubicBezTo>
                      <a:pt x="5201812" y="2017669"/>
                      <a:pt x="5208574" y="2034814"/>
                      <a:pt x="5200287" y="2043577"/>
                    </a:cubicBezTo>
                    <a:cubicBezTo>
                      <a:pt x="5184000" y="2060912"/>
                      <a:pt x="5166188" y="2077771"/>
                      <a:pt x="5144662" y="2088344"/>
                    </a:cubicBezTo>
                    <a:cubicBezTo>
                      <a:pt x="5123230" y="2098917"/>
                      <a:pt x="5099703" y="2109395"/>
                      <a:pt x="5076177" y="2114062"/>
                    </a:cubicBezTo>
                    <a:cubicBezTo>
                      <a:pt x="5068842" y="2115586"/>
                      <a:pt x="5059603" y="2113490"/>
                      <a:pt x="5051507" y="2113681"/>
                    </a:cubicBezTo>
                    <a:cubicBezTo>
                      <a:pt x="5040172" y="2113871"/>
                      <a:pt x="5028742" y="2114348"/>
                      <a:pt x="5017408" y="2114633"/>
                    </a:cubicBezTo>
                    <a:cubicBezTo>
                      <a:pt x="4984832" y="2115586"/>
                      <a:pt x="4952256" y="2115776"/>
                      <a:pt x="4919776" y="2117872"/>
                    </a:cubicBezTo>
                    <a:cubicBezTo>
                      <a:pt x="4929778" y="2111299"/>
                      <a:pt x="4939779" y="2099107"/>
                      <a:pt x="4947685" y="2089963"/>
                    </a:cubicBezTo>
                    <a:cubicBezTo>
                      <a:pt x="4955305" y="2081105"/>
                      <a:pt x="4961972" y="2071675"/>
                      <a:pt x="4969783" y="2063008"/>
                    </a:cubicBezTo>
                    <a:cubicBezTo>
                      <a:pt x="4975211" y="2057007"/>
                      <a:pt x="4980165" y="2050816"/>
                      <a:pt x="4984927" y="2044243"/>
                    </a:cubicBezTo>
                    <a:cubicBezTo>
                      <a:pt x="4988547" y="2039290"/>
                      <a:pt x="4990261" y="2038909"/>
                      <a:pt x="4996357" y="2036814"/>
                    </a:cubicBezTo>
                    <a:cubicBezTo>
                      <a:pt x="5015026" y="2030527"/>
                      <a:pt x="5032838" y="2023479"/>
                      <a:pt x="5050173" y="2013954"/>
                    </a:cubicBezTo>
                    <a:cubicBezTo>
                      <a:pt x="5080844" y="1996999"/>
                      <a:pt x="5106847" y="1965091"/>
                      <a:pt x="5123992" y="1934992"/>
                    </a:cubicBezTo>
                    <a:cubicBezTo>
                      <a:pt x="5139137" y="1908417"/>
                      <a:pt x="5146757" y="1876794"/>
                      <a:pt x="5153996" y="1847457"/>
                    </a:cubicBezTo>
                    <a:cubicBezTo>
                      <a:pt x="5158282" y="1830312"/>
                      <a:pt x="5162949" y="1813357"/>
                      <a:pt x="5168855" y="1796593"/>
                    </a:cubicBezTo>
                    <a:cubicBezTo>
                      <a:pt x="5170189" y="1792879"/>
                      <a:pt x="5179142" y="1772590"/>
                      <a:pt x="5176475" y="1769066"/>
                    </a:cubicBezTo>
                    <a:cubicBezTo>
                      <a:pt x="5173427" y="1764970"/>
                      <a:pt x="5169998" y="1770400"/>
                      <a:pt x="5167617" y="1772590"/>
                    </a:cubicBezTo>
                    <a:cubicBezTo>
                      <a:pt x="5162092" y="1777543"/>
                      <a:pt x="5155330" y="1781258"/>
                      <a:pt x="5148757" y="1784497"/>
                    </a:cubicBezTo>
                    <a:cubicBezTo>
                      <a:pt x="5134089" y="1791640"/>
                      <a:pt x="5118468" y="1797165"/>
                      <a:pt x="5103609" y="1803928"/>
                    </a:cubicBezTo>
                    <a:cubicBezTo>
                      <a:pt x="5085511" y="1812214"/>
                      <a:pt x="5068462" y="1822406"/>
                      <a:pt x="5052364" y="1834027"/>
                    </a:cubicBezTo>
                    <a:cubicBezTo>
                      <a:pt x="5036458" y="1845457"/>
                      <a:pt x="5021884" y="1858887"/>
                      <a:pt x="5008930" y="1873555"/>
                    </a:cubicBezTo>
                    <a:cubicBezTo>
                      <a:pt x="4999881" y="1883747"/>
                      <a:pt x="4993976" y="1895558"/>
                      <a:pt x="4987785" y="1907655"/>
                    </a:cubicBezTo>
                    <a:cubicBezTo>
                      <a:pt x="4971783" y="1938992"/>
                      <a:pt x="4966829" y="1972806"/>
                      <a:pt x="4970640" y="2007763"/>
                    </a:cubicBezTo>
                    <a:cubicBezTo>
                      <a:pt x="4971497" y="2015859"/>
                      <a:pt x="4973402" y="2025384"/>
                      <a:pt x="4971687" y="2033480"/>
                    </a:cubicBezTo>
                    <a:cubicBezTo>
                      <a:pt x="4969687" y="2042815"/>
                      <a:pt x="4960734" y="2052149"/>
                      <a:pt x="4954923" y="2059198"/>
                    </a:cubicBezTo>
                    <a:cubicBezTo>
                      <a:pt x="4938636" y="2079010"/>
                      <a:pt x="4917490" y="2103013"/>
                      <a:pt x="4895011" y="2115300"/>
                    </a:cubicBezTo>
                    <a:cubicBezTo>
                      <a:pt x="4878152" y="2124539"/>
                      <a:pt x="4856244" y="2124063"/>
                      <a:pt x="4837194" y="2125682"/>
                    </a:cubicBezTo>
                    <a:cubicBezTo>
                      <a:pt x="4791951" y="2129397"/>
                      <a:pt x="4746993" y="2136065"/>
                      <a:pt x="4701844" y="2140446"/>
                    </a:cubicBezTo>
                    <a:cubicBezTo>
                      <a:pt x="4666125" y="2143875"/>
                      <a:pt x="4627835" y="2151019"/>
                      <a:pt x="4592212" y="2147304"/>
                    </a:cubicBezTo>
                    <a:cubicBezTo>
                      <a:pt x="4572304" y="2145304"/>
                      <a:pt x="4552206" y="2143399"/>
                      <a:pt x="4532490" y="2139970"/>
                    </a:cubicBezTo>
                    <a:cubicBezTo>
                      <a:pt x="4518679" y="2137493"/>
                      <a:pt x="4504963" y="2134731"/>
                      <a:pt x="4490961" y="2133398"/>
                    </a:cubicBezTo>
                    <a:cubicBezTo>
                      <a:pt x="4460290" y="2130349"/>
                      <a:pt x="4429810" y="2123396"/>
                      <a:pt x="4399235" y="2120920"/>
                    </a:cubicBezTo>
                    <a:cubicBezTo>
                      <a:pt x="4385519" y="2119777"/>
                      <a:pt x="4371613" y="2116253"/>
                      <a:pt x="4357992" y="2114443"/>
                    </a:cubicBezTo>
                    <a:cubicBezTo>
                      <a:pt x="4342656" y="2112347"/>
                      <a:pt x="4327321" y="2110252"/>
                      <a:pt x="4312081" y="2107204"/>
                    </a:cubicBezTo>
                    <a:cubicBezTo>
                      <a:pt x="4276363" y="2099965"/>
                      <a:pt x="4240263" y="2092345"/>
                      <a:pt x="4204068" y="2087868"/>
                    </a:cubicBezTo>
                    <a:cubicBezTo>
                      <a:pt x="4183113" y="2085201"/>
                      <a:pt x="4162062" y="2082629"/>
                      <a:pt x="4141107" y="2080248"/>
                    </a:cubicBezTo>
                    <a:cubicBezTo>
                      <a:pt x="4167682" y="2059960"/>
                      <a:pt x="4196733" y="2042910"/>
                      <a:pt x="4228833" y="2032909"/>
                    </a:cubicBezTo>
                    <a:cubicBezTo>
                      <a:pt x="4264932" y="2021669"/>
                      <a:pt x="4304080" y="2023193"/>
                      <a:pt x="4341418" y="2023860"/>
                    </a:cubicBezTo>
                    <a:cubicBezTo>
                      <a:pt x="4347514" y="2023955"/>
                      <a:pt x="4352181" y="2024241"/>
                      <a:pt x="4357420" y="2026146"/>
                    </a:cubicBezTo>
                    <a:cubicBezTo>
                      <a:pt x="4362659" y="2028051"/>
                      <a:pt x="4369231" y="2029003"/>
                      <a:pt x="4374565" y="2029956"/>
                    </a:cubicBezTo>
                    <a:cubicBezTo>
                      <a:pt x="4393044" y="2033290"/>
                      <a:pt x="4413904" y="2032147"/>
                      <a:pt x="4432382" y="2029480"/>
                    </a:cubicBezTo>
                    <a:cubicBezTo>
                      <a:pt x="4479340" y="2022717"/>
                      <a:pt x="4526203" y="1999571"/>
                      <a:pt x="4558683" y="1964805"/>
                    </a:cubicBezTo>
                    <a:cubicBezTo>
                      <a:pt x="4574495" y="1947850"/>
                      <a:pt x="4588687" y="1927753"/>
                      <a:pt x="4598974" y="1907083"/>
                    </a:cubicBezTo>
                    <a:cubicBezTo>
                      <a:pt x="4600689" y="1903654"/>
                      <a:pt x="4607071" y="1895463"/>
                      <a:pt x="4606594" y="1891653"/>
                    </a:cubicBezTo>
                    <a:cubicBezTo>
                      <a:pt x="4605737" y="1884985"/>
                      <a:pt x="4597165" y="1888986"/>
                      <a:pt x="4592212" y="1889653"/>
                    </a:cubicBezTo>
                    <a:cubicBezTo>
                      <a:pt x="4554397" y="1894796"/>
                      <a:pt x="4515345" y="1891748"/>
                      <a:pt x="4478102" y="1900702"/>
                    </a:cubicBezTo>
                    <a:cubicBezTo>
                      <a:pt x="4456480" y="1905940"/>
                      <a:pt x="4435716" y="1914894"/>
                      <a:pt x="4417618" y="1927848"/>
                    </a:cubicBezTo>
                    <a:cubicBezTo>
                      <a:pt x="4401807" y="1939183"/>
                      <a:pt x="4391424" y="1952899"/>
                      <a:pt x="4380566" y="1968615"/>
                    </a:cubicBezTo>
                    <a:cubicBezTo>
                      <a:pt x="4376947" y="1973854"/>
                      <a:pt x="4373041" y="1978616"/>
                      <a:pt x="4370374" y="1984426"/>
                    </a:cubicBezTo>
                    <a:cubicBezTo>
                      <a:pt x="4368660" y="1988141"/>
                      <a:pt x="4367326" y="1991951"/>
                      <a:pt x="4365516" y="1995571"/>
                    </a:cubicBezTo>
                    <a:cubicBezTo>
                      <a:pt x="4364278" y="1998047"/>
                      <a:pt x="4362849" y="2000333"/>
                      <a:pt x="4361706" y="2002810"/>
                    </a:cubicBezTo>
                    <a:cubicBezTo>
                      <a:pt x="4359801" y="2007191"/>
                      <a:pt x="4360849" y="2007477"/>
                      <a:pt x="4356182" y="2008715"/>
                    </a:cubicBezTo>
                    <a:cubicBezTo>
                      <a:pt x="4345800" y="2011573"/>
                      <a:pt x="4332750" y="2010144"/>
                      <a:pt x="4321987" y="2010430"/>
                    </a:cubicBezTo>
                    <a:cubicBezTo>
                      <a:pt x="4314081" y="2010620"/>
                      <a:pt x="4306176" y="2011096"/>
                      <a:pt x="4298365" y="2011763"/>
                    </a:cubicBezTo>
                    <a:cubicBezTo>
                      <a:pt x="4270648" y="2014049"/>
                      <a:pt x="4243406" y="2017383"/>
                      <a:pt x="4216069" y="2022717"/>
                    </a:cubicBezTo>
                    <a:cubicBezTo>
                      <a:pt x="4191685" y="2027479"/>
                      <a:pt x="4165968" y="2034242"/>
                      <a:pt x="4144917" y="2048053"/>
                    </a:cubicBezTo>
                    <a:cubicBezTo>
                      <a:pt x="4138059" y="2052530"/>
                      <a:pt x="4111294" y="2068627"/>
                      <a:pt x="4113390" y="2077390"/>
                    </a:cubicBezTo>
                    <a:cubicBezTo>
                      <a:pt x="4070813" y="2070913"/>
                      <a:pt x="4027283" y="2065484"/>
                      <a:pt x="3984231" y="2063484"/>
                    </a:cubicBezTo>
                    <a:cubicBezTo>
                      <a:pt x="3949560" y="2061865"/>
                      <a:pt x="3915270" y="2061865"/>
                      <a:pt x="3880599" y="2061865"/>
                    </a:cubicBezTo>
                    <a:cubicBezTo>
                      <a:pt x="3933653" y="1969186"/>
                      <a:pt x="4025664" y="1912513"/>
                      <a:pt x="4125391" y="1880985"/>
                    </a:cubicBezTo>
                    <a:cubicBezTo>
                      <a:pt x="4171016" y="1866602"/>
                      <a:pt x="4216260" y="1851457"/>
                      <a:pt x="4261694" y="1836694"/>
                    </a:cubicBezTo>
                    <a:cubicBezTo>
                      <a:pt x="4279982" y="1830788"/>
                      <a:pt x="4297889" y="1823740"/>
                      <a:pt x="4315606" y="1816405"/>
                    </a:cubicBezTo>
                    <a:cubicBezTo>
                      <a:pt x="4323416" y="1813167"/>
                      <a:pt x="4331226" y="1810214"/>
                      <a:pt x="4338942" y="1806595"/>
                    </a:cubicBezTo>
                    <a:cubicBezTo>
                      <a:pt x="4343799" y="1804309"/>
                      <a:pt x="4345800" y="1802404"/>
                      <a:pt x="4350562" y="1803928"/>
                    </a:cubicBezTo>
                    <a:cubicBezTo>
                      <a:pt x="4357230" y="1805928"/>
                      <a:pt x="4363135" y="1809833"/>
                      <a:pt x="4370089" y="1811548"/>
                    </a:cubicBezTo>
                    <a:cubicBezTo>
                      <a:pt x="4397235" y="1818310"/>
                      <a:pt x="4423333" y="1808404"/>
                      <a:pt x="4447241" y="1795641"/>
                    </a:cubicBezTo>
                    <a:cubicBezTo>
                      <a:pt x="4476292" y="1780210"/>
                      <a:pt x="4499629" y="1756874"/>
                      <a:pt x="4519631" y="1730966"/>
                    </a:cubicBezTo>
                    <a:cubicBezTo>
                      <a:pt x="4539062" y="1705915"/>
                      <a:pt x="4555064" y="1676959"/>
                      <a:pt x="4566589" y="1647527"/>
                    </a:cubicBezTo>
                    <a:cubicBezTo>
                      <a:pt x="4572685" y="1631811"/>
                      <a:pt x="4582115" y="1613332"/>
                      <a:pt x="4582972" y="1596759"/>
                    </a:cubicBezTo>
                    <a:cubicBezTo>
                      <a:pt x="4583448" y="1587424"/>
                      <a:pt x="4573828" y="1595425"/>
                      <a:pt x="4568399" y="1598092"/>
                    </a:cubicBezTo>
                    <a:cubicBezTo>
                      <a:pt x="4554778" y="1604760"/>
                      <a:pt x="4540205" y="1608570"/>
                      <a:pt x="4525917" y="1613618"/>
                    </a:cubicBezTo>
                    <a:cubicBezTo>
                      <a:pt x="4509154" y="1619524"/>
                      <a:pt x="4492580" y="1626286"/>
                      <a:pt x="4476483" y="1633811"/>
                    </a:cubicBezTo>
                    <a:cubicBezTo>
                      <a:pt x="4425905" y="1657624"/>
                      <a:pt x="4379709" y="1684389"/>
                      <a:pt x="4354182" y="1736300"/>
                    </a:cubicBezTo>
                    <a:cubicBezTo>
                      <a:pt x="4349800" y="1745158"/>
                      <a:pt x="4346752" y="1754398"/>
                      <a:pt x="4343704" y="1763732"/>
                    </a:cubicBezTo>
                    <a:cubicBezTo>
                      <a:pt x="4341704" y="1769733"/>
                      <a:pt x="4340275" y="1775638"/>
                      <a:pt x="4339323" y="1781830"/>
                    </a:cubicBezTo>
                    <a:cubicBezTo>
                      <a:pt x="4338084" y="1789450"/>
                      <a:pt x="4334370" y="1790212"/>
                      <a:pt x="4327607" y="1794022"/>
                    </a:cubicBezTo>
                    <a:cubicBezTo>
                      <a:pt x="4302366" y="1807928"/>
                      <a:pt x="4274457" y="1816596"/>
                      <a:pt x="4247311" y="1825740"/>
                    </a:cubicBezTo>
                    <a:cubicBezTo>
                      <a:pt x="4206925" y="1839361"/>
                      <a:pt x="4166063" y="1851743"/>
                      <a:pt x="4125391" y="1864507"/>
                    </a:cubicBezTo>
                    <a:cubicBezTo>
                      <a:pt x="4120057" y="1866126"/>
                      <a:pt x="4114818" y="1867936"/>
                      <a:pt x="4109484" y="1869650"/>
                    </a:cubicBezTo>
                    <a:cubicBezTo>
                      <a:pt x="4120152" y="1861935"/>
                      <a:pt x="4128820" y="1846790"/>
                      <a:pt x="4136535" y="1836598"/>
                    </a:cubicBezTo>
                    <a:cubicBezTo>
                      <a:pt x="4151680" y="1816501"/>
                      <a:pt x="4166444" y="1796689"/>
                      <a:pt x="4177779" y="1774019"/>
                    </a:cubicBezTo>
                    <a:cubicBezTo>
                      <a:pt x="4179398" y="1770685"/>
                      <a:pt x="4180541" y="1765447"/>
                      <a:pt x="4182922" y="1762494"/>
                    </a:cubicBezTo>
                    <a:cubicBezTo>
                      <a:pt x="4185970" y="1758779"/>
                      <a:pt x="4191780" y="1759160"/>
                      <a:pt x="4197019" y="1757731"/>
                    </a:cubicBezTo>
                    <a:cubicBezTo>
                      <a:pt x="4213212" y="1753255"/>
                      <a:pt x="4225690" y="1744301"/>
                      <a:pt x="4237024" y="1731919"/>
                    </a:cubicBezTo>
                    <a:cubicBezTo>
                      <a:pt x="4258646" y="1708392"/>
                      <a:pt x="4271505" y="1676197"/>
                      <a:pt x="4275029" y="1644670"/>
                    </a:cubicBezTo>
                    <a:cubicBezTo>
                      <a:pt x="4278363" y="1614952"/>
                      <a:pt x="4277315" y="1583805"/>
                      <a:pt x="4275315" y="1554087"/>
                    </a:cubicBezTo>
                    <a:cubicBezTo>
                      <a:pt x="4274553" y="1542943"/>
                      <a:pt x="4272743" y="1531798"/>
                      <a:pt x="4271219" y="1520749"/>
                    </a:cubicBezTo>
                    <a:cubicBezTo>
                      <a:pt x="4270552" y="1515796"/>
                      <a:pt x="4266933" y="1480363"/>
                      <a:pt x="4258456" y="1487221"/>
                    </a:cubicBezTo>
                    <a:cubicBezTo>
                      <a:pt x="4256931" y="1488460"/>
                      <a:pt x="4256169" y="1492841"/>
                      <a:pt x="4255312" y="1494460"/>
                    </a:cubicBezTo>
                    <a:cubicBezTo>
                      <a:pt x="4253693" y="1497889"/>
                      <a:pt x="4251693" y="1501223"/>
                      <a:pt x="4249883" y="1504652"/>
                    </a:cubicBezTo>
                    <a:cubicBezTo>
                      <a:pt x="4243597" y="1516558"/>
                      <a:pt x="4233119" y="1525417"/>
                      <a:pt x="4223880" y="1535037"/>
                    </a:cubicBezTo>
                    <a:cubicBezTo>
                      <a:pt x="4200924" y="1558849"/>
                      <a:pt x="4173588" y="1581900"/>
                      <a:pt x="4156443" y="1610570"/>
                    </a:cubicBezTo>
                    <a:cubicBezTo>
                      <a:pt x="4143203" y="1632859"/>
                      <a:pt x="4135583" y="1658005"/>
                      <a:pt x="4133202" y="1683722"/>
                    </a:cubicBezTo>
                    <a:cubicBezTo>
                      <a:pt x="4130725" y="1709440"/>
                      <a:pt x="4137012" y="1748492"/>
                      <a:pt x="4166158" y="1757636"/>
                    </a:cubicBezTo>
                    <a:cubicBezTo>
                      <a:pt x="4160633" y="1764685"/>
                      <a:pt x="4156824" y="1774114"/>
                      <a:pt x="4152347" y="1782115"/>
                    </a:cubicBezTo>
                    <a:cubicBezTo>
                      <a:pt x="4145774" y="1793926"/>
                      <a:pt x="4139012" y="1805547"/>
                      <a:pt x="4131678" y="1816977"/>
                    </a:cubicBezTo>
                    <a:cubicBezTo>
                      <a:pt x="4119486" y="1835741"/>
                      <a:pt x="4105579" y="1853553"/>
                      <a:pt x="4090625" y="1870317"/>
                    </a:cubicBezTo>
                    <a:cubicBezTo>
                      <a:pt x="4088053" y="1873174"/>
                      <a:pt x="4085577" y="1876699"/>
                      <a:pt x="4082433" y="1878794"/>
                    </a:cubicBezTo>
                    <a:cubicBezTo>
                      <a:pt x="4077099" y="1882223"/>
                      <a:pt x="4069003" y="1883461"/>
                      <a:pt x="4063098" y="1886033"/>
                    </a:cubicBezTo>
                    <a:cubicBezTo>
                      <a:pt x="4053858" y="1890034"/>
                      <a:pt x="4044619" y="1894129"/>
                      <a:pt x="4035666" y="1898701"/>
                    </a:cubicBezTo>
                    <a:cubicBezTo>
                      <a:pt x="4017282" y="1907941"/>
                      <a:pt x="3999661" y="1918704"/>
                      <a:pt x="3982135" y="1929372"/>
                    </a:cubicBezTo>
                    <a:cubicBezTo>
                      <a:pt x="3983945" y="1918990"/>
                      <a:pt x="3986802" y="1908607"/>
                      <a:pt x="3989565" y="1898416"/>
                    </a:cubicBezTo>
                    <a:cubicBezTo>
                      <a:pt x="3992136" y="1888795"/>
                      <a:pt x="3996423" y="1884128"/>
                      <a:pt x="4003852" y="1877365"/>
                    </a:cubicBezTo>
                    <a:cubicBezTo>
                      <a:pt x="4023093" y="1859839"/>
                      <a:pt x="4038333" y="1835170"/>
                      <a:pt x="4037571" y="1808500"/>
                    </a:cubicBezTo>
                    <a:cubicBezTo>
                      <a:pt x="4036999" y="1787449"/>
                      <a:pt x="4027665" y="1766780"/>
                      <a:pt x="4019759" y="1747444"/>
                    </a:cubicBezTo>
                    <a:cubicBezTo>
                      <a:pt x="4015568" y="1737157"/>
                      <a:pt x="4010615" y="1727251"/>
                      <a:pt x="4005757" y="1717345"/>
                    </a:cubicBezTo>
                    <a:cubicBezTo>
                      <a:pt x="4002233" y="1710202"/>
                      <a:pt x="3994232" y="1685341"/>
                      <a:pt x="3983373" y="1686865"/>
                    </a:cubicBezTo>
                    <a:cubicBezTo>
                      <a:pt x="3974324" y="1688104"/>
                      <a:pt x="3963752" y="1708773"/>
                      <a:pt x="3959561" y="1715345"/>
                    </a:cubicBezTo>
                    <a:cubicBezTo>
                      <a:pt x="3951369" y="1728109"/>
                      <a:pt x="3944988" y="1742015"/>
                      <a:pt x="3939844" y="1756207"/>
                    </a:cubicBezTo>
                    <a:cubicBezTo>
                      <a:pt x="3929938" y="1783544"/>
                      <a:pt x="3927843" y="1808119"/>
                      <a:pt x="3937939" y="1835646"/>
                    </a:cubicBezTo>
                    <a:cubicBezTo>
                      <a:pt x="3942892" y="1849076"/>
                      <a:pt x="3950226" y="1861744"/>
                      <a:pt x="3959751" y="1872508"/>
                    </a:cubicBezTo>
                    <a:cubicBezTo>
                      <a:pt x="3962418" y="1875556"/>
                      <a:pt x="3964990" y="1878604"/>
                      <a:pt x="3967752" y="1881556"/>
                    </a:cubicBezTo>
                    <a:cubicBezTo>
                      <a:pt x="3971753" y="1885938"/>
                      <a:pt x="3978420" y="1888795"/>
                      <a:pt x="3979849" y="1894415"/>
                    </a:cubicBezTo>
                    <a:cubicBezTo>
                      <a:pt x="3982707" y="1906036"/>
                      <a:pt x="3977373" y="1922323"/>
                      <a:pt x="3972610" y="1932706"/>
                    </a:cubicBezTo>
                    <a:cubicBezTo>
                      <a:pt x="3969372" y="1939849"/>
                      <a:pt x="3959847" y="1943945"/>
                      <a:pt x="3953179" y="1948612"/>
                    </a:cubicBezTo>
                    <a:cubicBezTo>
                      <a:pt x="3913555" y="1976140"/>
                      <a:pt x="3882694" y="2008239"/>
                      <a:pt x="3858882" y="2050149"/>
                    </a:cubicBezTo>
                    <a:cubicBezTo>
                      <a:pt x="3857358" y="2052816"/>
                      <a:pt x="3855929" y="2055578"/>
                      <a:pt x="3854500" y="2058245"/>
                    </a:cubicBezTo>
                    <a:cubicBezTo>
                      <a:pt x="3851833" y="2063198"/>
                      <a:pt x="3851738" y="2062531"/>
                      <a:pt x="3846308" y="2062817"/>
                    </a:cubicBezTo>
                    <a:cubicBezTo>
                      <a:pt x="3831735" y="2063484"/>
                      <a:pt x="3817162" y="2064627"/>
                      <a:pt x="3802684" y="2065579"/>
                    </a:cubicBezTo>
                    <a:cubicBezTo>
                      <a:pt x="3770490" y="2067580"/>
                      <a:pt x="3738390" y="2072723"/>
                      <a:pt x="3706482" y="2077676"/>
                    </a:cubicBezTo>
                    <a:cubicBezTo>
                      <a:pt x="3669715" y="2083391"/>
                      <a:pt x="3633044" y="2091202"/>
                      <a:pt x="3596849" y="2100060"/>
                    </a:cubicBezTo>
                    <a:cubicBezTo>
                      <a:pt x="3562368" y="2108537"/>
                      <a:pt x="3527221" y="2113871"/>
                      <a:pt x="3492645" y="2121967"/>
                    </a:cubicBezTo>
                    <a:cubicBezTo>
                      <a:pt x="3452926" y="2131397"/>
                      <a:pt x="3411969" y="2141303"/>
                      <a:pt x="3371392" y="2145970"/>
                    </a:cubicBezTo>
                    <a:cubicBezTo>
                      <a:pt x="3355390" y="2147780"/>
                      <a:pt x="3339293" y="2149590"/>
                      <a:pt x="3323291" y="2150924"/>
                    </a:cubicBezTo>
                    <a:cubicBezTo>
                      <a:pt x="3303669" y="2152638"/>
                      <a:pt x="3283000" y="2155591"/>
                      <a:pt x="3263379" y="2155210"/>
                    </a:cubicBezTo>
                    <a:cubicBezTo>
                      <a:pt x="3252996" y="2155019"/>
                      <a:pt x="3242614" y="2152638"/>
                      <a:pt x="3232232" y="2152352"/>
                    </a:cubicBezTo>
                    <a:cubicBezTo>
                      <a:pt x="3265188" y="2133493"/>
                      <a:pt x="3296049" y="2109204"/>
                      <a:pt x="3323577" y="2083105"/>
                    </a:cubicBezTo>
                    <a:cubicBezTo>
                      <a:pt x="3350437" y="2097965"/>
                      <a:pt x="3389490" y="2075104"/>
                      <a:pt x="3408825" y="2056912"/>
                    </a:cubicBezTo>
                    <a:cubicBezTo>
                      <a:pt x="3435114" y="2032147"/>
                      <a:pt x="3454926" y="1997380"/>
                      <a:pt x="3471690" y="1965662"/>
                    </a:cubicBezTo>
                    <a:cubicBezTo>
                      <a:pt x="3479596" y="1950517"/>
                      <a:pt x="3487788" y="1935563"/>
                      <a:pt x="3494265" y="1919752"/>
                    </a:cubicBezTo>
                    <a:cubicBezTo>
                      <a:pt x="3497694" y="1911370"/>
                      <a:pt x="3501313" y="1902988"/>
                      <a:pt x="3503599" y="1894129"/>
                    </a:cubicBezTo>
                    <a:cubicBezTo>
                      <a:pt x="3503885" y="1893082"/>
                      <a:pt x="3504933" y="1890129"/>
                      <a:pt x="3504837" y="1889081"/>
                    </a:cubicBezTo>
                    <a:cubicBezTo>
                      <a:pt x="3503885" y="1881842"/>
                      <a:pt x="3500170" y="1886605"/>
                      <a:pt x="3496836" y="1888605"/>
                    </a:cubicBezTo>
                    <a:cubicBezTo>
                      <a:pt x="3483406" y="1896415"/>
                      <a:pt x="3467499" y="1897939"/>
                      <a:pt x="3452736" y="1901749"/>
                    </a:cubicBezTo>
                    <a:cubicBezTo>
                      <a:pt x="3436162" y="1906036"/>
                      <a:pt x="3419208" y="1909465"/>
                      <a:pt x="3402729" y="1914132"/>
                    </a:cubicBezTo>
                    <a:cubicBezTo>
                      <a:pt x="3380822" y="1920323"/>
                      <a:pt x="3359867" y="1929943"/>
                      <a:pt x="3341388" y="1943278"/>
                    </a:cubicBezTo>
                    <a:cubicBezTo>
                      <a:pt x="3326053" y="1954327"/>
                      <a:pt x="3309956" y="1967758"/>
                      <a:pt x="3300907" y="1984712"/>
                    </a:cubicBezTo>
                    <a:cubicBezTo>
                      <a:pt x="3290049" y="2004905"/>
                      <a:pt x="3284048" y="2033194"/>
                      <a:pt x="3294811" y="2054721"/>
                    </a:cubicBezTo>
                    <a:cubicBezTo>
                      <a:pt x="3296907" y="2058912"/>
                      <a:pt x="3301383" y="2062627"/>
                      <a:pt x="3302907" y="2066913"/>
                    </a:cubicBezTo>
                    <a:cubicBezTo>
                      <a:pt x="3304431" y="2071199"/>
                      <a:pt x="3304908" y="2069580"/>
                      <a:pt x="3301002" y="2072818"/>
                    </a:cubicBezTo>
                    <a:cubicBezTo>
                      <a:pt x="3291668" y="2080724"/>
                      <a:pt x="3282429" y="2088439"/>
                      <a:pt x="3272713" y="2095869"/>
                    </a:cubicBezTo>
                    <a:cubicBezTo>
                      <a:pt x="3246519" y="2115871"/>
                      <a:pt x="3216135" y="2132445"/>
                      <a:pt x="3185369" y="2144446"/>
                    </a:cubicBezTo>
                    <a:cubicBezTo>
                      <a:pt x="3176606" y="2147875"/>
                      <a:pt x="3170510" y="2150924"/>
                      <a:pt x="3161271" y="2150352"/>
                    </a:cubicBezTo>
                    <a:cubicBezTo>
                      <a:pt x="3152412" y="2149876"/>
                      <a:pt x="3143649" y="2149495"/>
                      <a:pt x="3134791" y="2149399"/>
                    </a:cubicBezTo>
                    <a:cubicBezTo>
                      <a:pt x="3120123" y="2149304"/>
                      <a:pt x="3105549" y="2149304"/>
                      <a:pt x="3090881" y="2148066"/>
                    </a:cubicBezTo>
                    <a:cubicBezTo>
                      <a:pt x="3030588" y="2142827"/>
                      <a:pt x="2969342" y="2144446"/>
                      <a:pt x="2908858" y="2143970"/>
                    </a:cubicBezTo>
                    <a:cubicBezTo>
                      <a:pt x="2942767" y="2113490"/>
                      <a:pt x="2971437" y="2076438"/>
                      <a:pt x="2990868" y="2034814"/>
                    </a:cubicBezTo>
                    <a:cubicBezTo>
                      <a:pt x="2992297" y="2031766"/>
                      <a:pt x="2993345" y="2027003"/>
                      <a:pt x="2995345" y="2024336"/>
                    </a:cubicBezTo>
                    <a:cubicBezTo>
                      <a:pt x="2997345" y="2021574"/>
                      <a:pt x="3000870" y="2020621"/>
                      <a:pt x="3004108" y="2019002"/>
                    </a:cubicBezTo>
                    <a:cubicBezTo>
                      <a:pt x="3010014" y="2016145"/>
                      <a:pt x="3015824" y="2013097"/>
                      <a:pt x="3021444" y="2009858"/>
                    </a:cubicBezTo>
                    <a:cubicBezTo>
                      <a:pt x="3035826" y="2001667"/>
                      <a:pt x="3049447" y="1992427"/>
                      <a:pt x="3062401" y="1982236"/>
                    </a:cubicBezTo>
                    <a:cubicBezTo>
                      <a:pt x="3079451" y="1968805"/>
                      <a:pt x="3096215" y="1954232"/>
                      <a:pt x="3111455" y="1938802"/>
                    </a:cubicBezTo>
                    <a:cubicBezTo>
                      <a:pt x="3126504" y="1923562"/>
                      <a:pt x="3140030" y="1907845"/>
                      <a:pt x="3153174" y="1890891"/>
                    </a:cubicBezTo>
                    <a:cubicBezTo>
                      <a:pt x="3155556" y="1887843"/>
                      <a:pt x="3158794" y="1881937"/>
                      <a:pt x="3161747" y="1881556"/>
                    </a:cubicBezTo>
                    <a:cubicBezTo>
                      <a:pt x="3164033" y="1881271"/>
                      <a:pt x="3168795" y="1884033"/>
                      <a:pt x="3171272" y="1884509"/>
                    </a:cubicBezTo>
                    <a:cubicBezTo>
                      <a:pt x="3174891" y="1885271"/>
                      <a:pt x="3178320" y="1885747"/>
                      <a:pt x="3182035" y="1885747"/>
                    </a:cubicBezTo>
                    <a:cubicBezTo>
                      <a:pt x="3192513" y="1885843"/>
                      <a:pt x="3203657" y="1883938"/>
                      <a:pt x="3213658" y="1880985"/>
                    </a:cubicBezTo>
                    <a:cubicBezTo>
                      <a:pt x="3261093" y="1866793"/>
                      <a:pt x="3294049" y="1820406"/>
                      <a:pt x="3317004" y="1779163"/>
                    </a:cubicBezTo>
                    <a:cubicBezTo>
                      <a:pt x="3334340" y="1747921"/>
                      <a:pt x="3351771" y="1714678"/>
                      <a:pt x="3360343" y="1679817"/>
                    </a:cubicBezTo>
                    <a:cubicBezTo>
                      <a:pt x="3361581" y="1674578"/>
                      <a:pt x="3369582" y="1646575"/>
                      <a:pt x="3362915" y="1646098"/>
                    </a:cubicBezTo>
                    <a:cubicBezTo>
                      <a:pt x="3361105" y="1646003"/>
                      <a:pt x="3358438" y="1650289"/>
                      <a:pt x="3356724" y="1651813"/>
                    </a:cubicBezTo>
                    <a:cubicBezTo>
                      <a:pt x="3353675" y="1654480"/>
                      <a:pt x="3349675" y="1656385"/>
                      <a:pt x="3346151" y="1658386"/>
                    </a:cubicBezTo>
                    <a:cubicBezTo>
                      <a:pt x="3327577" y="1668863"/>
                      <a:pt x="3307289" y="1674769"/>
                      <a:pt x="3287191" y="1681722"/>
                    </a:cubicBezTo>
                    <a:cubicBezTo>
                      <a:pt x="3263569" y="1689913"/>
                      <a:pt x="3239852" y="1698295"/>
                      <a:pt x="3217087" y="1708773"/>
                    </a:cubicBezTo>
                    <a:cubicBezTo>
                      <a:pt x="3194418" y="1719155"/>
                      <a:pt x="3177082" y="1734871"/>
                      <a:pt x="3159937" y="1752683"/>
                    </a:cubicBezTo>
                    <a:cubicBezTo>
                      <a:pt x="3152317" y="1760589"/>
                      <a:pt x="3145649" y="1768780"/>
                      <a:pt x="3140982" y="1778782"/>
                    </a:cubicBezTo>
                    <a:cubicBezTo>
                      <a:pt x="3132981" y="1796022"/>
                      <a:pt x="3127362" y="1823644"/>
                      <a:pt x="3130981" y="1842504"/>
                    </a:cubicBezTo>
                    <a:cubicBezTo>
                      <a:pt x="3131933" y="1847647"/>
                      <a:pt x="3134220" y="1852505"/>
                      <a:pt x="3136791" y="1856887"/>
                    </a:cubicBezTo>
                    <a:cubicBezTo>
                      <a:pt x="3138030" y="1858887"/>
                      <a:pt x="3141078" y="1861744"/>
                      <a:pt x="3141554" y="1864030"/>
                    </a:cubicBezTo>
                    <a:cubicBezTo>
                      <a:pt x="3142506" y="1867745"/>
                      <a:pt x="3137744" y="1873936"/>
                      <a:pt x="3135363" y="1877556"/>
                    </a:cubicBezTo>
                    <a:cubicBezTo>
                      <a:pt x="3125075" y="1893463"/>
                      <a:pt x="3110693" y="1907941"/>
                      <a:pt x="3097644" y="1921561"/>
                    </a:cubicBezTo>
                    <a:cubicBezTo>
                      <a:pt x="3074307" y="1946041"/>
                      <a:pt x="3049352" y="1969377"/>
                      <a:pt x="3021063" y="1988141"/>
                    </a:cubicBezTo>
                    <a:cubicBezTo>
                      <a:pt x="3015443" y="1991951"/>
                      <a:pt x="3009537" y="1995380"/>
                      <a:pt x="3003822" y="1999095"/>
                    </a:cubicBezTo>
                    <a:cubicBezTo>
                      <a:pt x="3009156" y="1987570"/>
                      <a:pt x="3010680" y="1974044"/>
                      <a:pt x="3013443" y="1961757"/>
                    </a:cubicBezTo>
                    <a:cubicBezTo>
                      <a:pt x="3016395" y="1948422"/>
                      <a:pt x="3019634" y="1935277"/>
                      <a:pt x="3021539" y="1921657"/>
                    </a:cubicBezTo>
                    <a:cubicBezTo>
                      <a:pt x="3026778" y="1885081"/>
                      <a:pt x="3031254" y="1847647"/>
                      <a:pt x="3032397" y="1810690"/>
                    </a:cubicBezTo>
                    <a:cubicBezTo>
                      <a:pt x="3047256" y="1812595"/>
                      <a:pt x="3063163" y="1794307"/>
                      <a:pt x="3072116" y="1783925"/>
                    </a:cubicBezTo>
                    <a:cubicBezTo>
                      <a:pt x="3084880" y="1769257"/>
                      <a:pt x="3089738" y="1748111"/>
                      <a:pt x="3089547" y="1728966"/>
                    </a:cubicBezTo>
                    <a:cubicBezTo>
                      <a:pt x="3089262" y="1698200"/>
                      <a:pt x="3078594" y="1669530"/>
                      <a:pt x="3068497" y="1640955"/>
                    </a:cubicBezTo>
                    <a:cubicBezTo>
                      <a:pt x="3060210" y="1617619"/>
                      <a:pt x="3050685" y="1595044"/>
                      <a:pt x="3040589" y="1572470"/>
                    </a:cubicBezTo>
                    <a:cubicBezTo>
                      <a:pt x="3030969" y="1550848"/>
                      <a:pt x="3022110" y="1529322"/>
                      <a:pt x="3015919" y="1506462"/>
                    </a:cubicBezTo>
                    <a:cubicBezTo>
                      <a:pt x="3014490" y="1501318"/>
                      <a:pt x="3012299" y="1473220"/>
                      <a:pt x="3003251" y="1485697"/>
                    </a:cubicBezTo>
                    <a:cubicBezTo>
                      <a:pt x="2996869" y="1494556"/>
                      <a:pt x="2992678" y="1506557"/>
                      <a:pt x="2987725" y="1516558"/>
                    </a:cubicBezTo>
                    <a:cubicBezTo>
                      <a:pt x="2980581" y="1530751"/>
                      <a:pt x="2973247" y="1544943"/>
                      <a:pt x="2967341" y="1559707"/>
                    </a:cubicBezTo>
                    <a:cubicBezTo>
                      <a:pt x="2953245" y="1595140"/>
                      <a:pt x="2942862" y="1634954"/>
                      <a:pt x="2947053" y="1673340"/>
                    </a:cubicBezTo>
                    <a:cubicBezTo>
                      <a:pt x="2950482" y="1704772"/>
                      <a:pt x="2962008" y="1735633"/>
                      <a:pt x="2979915" y="1761637"/>
                    </a:cubicBezTo>
                    <a:cubicBezTo>
                      <a:pt x="2986868" y="1771733"/>
                      <a:pt x="2993154" y="1781830"/>
                      <a:pt x="3001632" y="1790878"/>
                    </a:cubicBezTo>
                    <a:cubicBezTo>
                      <a:pt x="3005061" y="1794498"/>
                      <a:pt x="3009537" y="1797355"/>
                      <a:pt x="3012871" y="1800880"/>
                    </a:cubicBezTo>
                    <a:cubicBezTo>
                      <a:pt x="3015348" y="1803642"/>
                      <a:pt x="3014966" y="1801261"/>
                      <a:pt x="3016014" y="1805928"/>
                    </a:cubicBezTo>
                    <a:cubicBezTo>
                      <a:pt x="3017157" y="1811071"/>
                      <a:pt x="3015824" y="1817548"/>
                      <a:pt x="3015443" y="1822692"/>
                    </a:cubicBezTo>
                    <a:cubicBezTo>
                      <a:pt x="3012204" y="1869936"/>
                      <a:pt x="3010490" y="1917085"/>
                      <a:pt x="2997155" y="1962900"/>
                    </a:cubicBezTo>
                    <a:cubicBezTo>
                      <a:pt x="2990583" y="1985474"/>
                      <a:pt x="2983153" y="2009477"/>
                      <a:pt x="2972580" y="2030432"/>
                    </a:cubicBezTo>
                    <a:cubicBezTo>
                      <a:pt x="2967627" y="2040243"/>
                      <a:pt x="2960865" y="2049387"/>
                      <a:pt x="2954864" y="2058626"/>
                    </a:cubicBezTo>
                    <a:cubicBezTo>
                      <a:pt x="2957245" y="2036719"/>
                      <a:pt x="2958674" y="2014716"/>
                      <a:pt x="2956388" y="1992713"/>
                    </a:cubicBezTo>
                    <a:cubicBezTo>
                      <a:pt x="2955816" y="1987665"/>
                      <a:pt x="2953530" y="1980045"/>
                      <a:pt x="2954769" y="1975282"/>
                    </a:cubicBezTo>
                    <a:cubicBezTo>
                      <a:pt x="2955626" y="1971758"/>
                      <a:pt x="2958198" y="1967853"/>
                      <a:pt x="2959436" y="1964424"/>
                    </a:cubicBezTo>
                    <a:cubicBezTo>
                      <a:pt x="2963150" y="1954423"/>
                      <a:pt x="2964198" y="1943945"/>
                      <a:pt x="2963055" y="1933277"/>
                    </a:cubicBezTo>
                    <a:cubicBezTo>
                      <a:pt x="2957816" y="1884700"/>
                      <a:pt x="2919526" y="1846504"/>
                      <a:pt x="2878949" y="1823740"/>
                    </a:cubicBezTo>
                    <a:cubicBezTo>
                      <a:pt x="2851994" y="1808595"/>
                      <a:pt x="2822657" y="1802594"/>
                      <a:pt x="2792939" y="1795355"/>
                    </a:cubicBezTo>
                    <a:cubicBezTo>
                      <a:pt x="2791034" y="1794879"/>
                      <a:pt x="2789415" y="1792974"/>
                      <a:pt x="2787319" y="1794212"/>
                    </a:cubicBezTo>
                    <a:cubicBezTo>
                      <a:pt x="2784081" y="1796212"/>
                      <a:pt x="2789129" y="1804785"/>
                      <a:pt x="2789986" y="1807261"/>
                    </a:cubicBezTo>
                    <a:cubicBezTo>
                      <a:pt x="2793510" y="1817644"/>
                      <a:pt x="2795796" y="1828312"/>
                      <a:pt x="2799035" y="1838694"/>
                    </a:cubicBezTo>
                    <a:cubicBezTo>
                      <a:pt x="2805893" y="1860411"/>
                      <a:pt x="2812941" y="1881842"/>
                      <a:pt x="2821704" y="1902892"/>
                    </a:cubicBezTo>
                    <a:cubicBezTo>
                      <a:pt x="2832277" y="1928324"/>
                      <a:pt x="2846279" y="1952232"/>
                      <a:pt x="2864948" y="1972520"/>
                    </a:cubicBezTo>
                    <a:cubicBezTo>
                      <a:pt x="2881712" y="1990808"/>
                      <a:pt x="2911811" y="2005191"/>
                      <a:pt x="2935909" y="1991856"/>
                    </a:cubicBezTo>
                    <a:cubicBezTo>
                      <a:pt x="2936004" y="2006810"/>
                      <a:pt x="2938005" y="2021764"/>
                      <a:pt x="2938100" y="2036719"/>
                    </a:cubicBezTo>
                    <a:cubicBezTo>
                      <a:pt x="2938195" y="2045863"/>
                      <a:pt x="2937528" y="2055102"/>
                      <a:pt x="2936385" y="2064246"/>
                    </a:cubicBezTo>
                    <a:cubicBezTo>
                      <a:pt x="2935338" y="2072914"/>
                      <a:pt x="2935242" y="2081962"/>
                      <a:pt x="2930004" y="2088916"/>
                    </a:cubicBezTo>
                    <a:cubicBezTo>
                      <a:pt x="2918669" y="2103870"/>
                      <a:pt x="2903810" y="2115586"/>
                      <a:pt x="2890761" y="2128921"/>
                    </a:cubicBezTo>
                    <a:cubicBezTo>
                      <a:pt x="2885903" y="2133969"/>
                      <a:pt x="2879521" y="2142065"/>
                      <a:pt x="2872854" y="2144446"/>
                    </a:cubicBezTo>
                    <a:cubicBezTo>
                      <a:pt x="2866377" y="2146732"/>
                      <a:pt x="2855899" y="2144446"/>
                      <a:pt x="2848850" y="2144351"/>
                    </a:cubicBezTo>
                    <a:cubicBezTo>
                      <a:pt x="2782271" y="2143780"/>
                      <a:pt x="2716644" y="2151400"/>
                      <a:pt x="2650921" y="2160925"/>
                    </a:cubicBezTo>
                    <a:cubicBezTo>
                      <a:pt x="2526144" y="2179022"/>
                      <a:pt x="2399271" y="2206645"/>
                      <a:pt x="2283732" y="2258080"/>
                    </a:cubicBezTo>
                    <a:cubicBezTo>
                      <a:pt x="2245347" y="2275129"/>
                      <a:pt x="2209152" y="2294846"/>
                      <a:pt x="2173623" y="2317230"/>
                    </a:cubicBezTo>
                    <a:cubicBezTo>
                      <a:pt x="2137333" y="2340090"/>
                      <a:pt x="2103615" y="2366950"/>
                      <a:pt x="2069801" y="2393240"/>
                    </a:cubicBezTo>
                    <a:cubicBezTo>
                      <a:pt x="2084850" y="2341614"/>
                      <a:pt x="2101805" y="2290655"/>
                      <a:pt x="2118950" y="2239696"/>
                    </a:cubicBezTo>
                    <a:cubicBezTo>
                      <a:pt x="2121617" y="2231695"/>
                      <a:pt x="2124284" y="2223695"/>
                      <a:pt x="2126665" y="2215694"/>
                    </a:cubicBezTo>
                    <a:cubicBezTo>
                      <a:pt x="2130189" y="2203978"/>
                      <a:pt x="2131904" y="2188071"/>
                      <a:pt x="2137905" y="2177498"/>
                    </a:cubicBezTo>
                    <a:cubicBezTo>
                      <a:pt x="2146572" y="2162163"/>
                      <a:pt x="2159907" y="2148447"/>
                      <a:pt x="2172290" y="2136065"/>
                    </a:cubicBezTo>
                    <a:cubicBezTo>
                      <a:pt x="2195817" y="2112442"/>
                      <a:pt x="2221153" y="2090535"/>
                      <a:pt x="2250109" y="2073866"/>
                    </a:cubicBezTo>
                    <a:cubicBezTo>
                      <a:pt x="2252871" y="2072247"/>
                      <a:pt x="2255634" y="2070723"/>
                      <a:pt x="2258491" y="2069294"/>
                    </a:cubicBezTo>
                    <a:cubicBezTo>
                      <a:pt x="2263158" y="2066818"/>
                      <a:pt x="2262873" y="2066627"/>
                      <a:pt x="2267540" y="2067865"/>
                    </a:cubicBezTo>
                    <a:cubicBezTo>
                      <a:pt x="2271159" y="2068818"/>
                      <a:pt x="2274684" y="2071961"/>
                      <a:pt x="2278208" y="2073295"/>
                    </a:cubicBezTo>
                    <a:cubicBezTo>
                      <a:pt x="2287447" y="2076819"/>
                      <a:pt x="2299068" y="2077962"/>
                      <a:pt x="2308878" y="2078248"/>
                    </a:cubicBezTo>
                    <a:cubicBezTo>
                      <a:pt x="2331738" y="2079105"/>
                      <a:pt x="2354027" y="2073676"/>
                      <a:pt x="2373744" y="2062341"/>
                    </a:cubicBezTo>
                    <a:cubicBezTo>
                      <a:pt x="2408224" y="2042529"/>
                      <a:pt x="2420607" y="2006715"/>
                      <a:pt x="2433370" y="1971663"/>
                    </a:cubicBezTo>
                    <a:cubicBezTo>
                      <a:pt x="2435656" y="1965472"/>
                      <a:pt x="2437275" y="1959280"/>
                      <a:pt x="2438990" y="1952994"/>
                    </a:cubicBezTo>
                    <a:cubicBezTo>
                      <a:pt x="2439847" y="1949946"/>
                      <a:pt x="2443752" y="1941564"/>
                      <a:pt x="2442514" y="1938516"/>
                    </a:cubicBezTo>
                    <a:cubicBezTo>
                      <a:pt x="2440514" y="1933849"/>
                      <a:pt x="2420797" y="1938230"/>
                      <a:pt x="2416511" y="1938611"/>
                    </a:cubicBezTo>
                    <a:cubicBezTo>
                      <a:pt x="2388317" y="1941469"/>
                      <a:pt x="2353455" y="1951089"/>
                      <a:pt x="2328976" y="1965948"/>
                    </a:cubicBezTo>
                    <a:cubicBezTo>
                      <a:pt x="2309450" y="1977759"/>
                      <a:pt x="2290400" y="1995094"/>
                      <a:pt x="2276398" y="2012906"/>
                    </a:cubicBezTo>
                    <a:cubicBezTo>
                      <a:pt x="2270588" y="2020240"/>
                      <a:pt x="2265159" y="2028813"/>
                      <a:pt x="2261349" y="2037385"/>
                    </a:cubicBezTo>
                    <a:cubicBezTo>
                      <a:pt x="2259253" y="2042053"/>
                      <a:pt x="2259348" y="2050625"/>
                      <a:pt x="2256967" y="2054530"/>
                    </a:cubicBezTo>
                    <a:cubicBezTo>
                      <a:pt x="2254491" y="2058436"/>
                      <a:pt x="2242203" y="2062912"/>
                      <a:pt x="2238012" y="2065675"/>
                    </a:cubicBezTo>
                    <a:cubicBezTo>
                      <a:pt x="2226201" y="2073104"/>
                      <a:pt x="2214200" y="2080343"/>
                      <a:pt x="2202960" y="2088535"/>
                    </a:cubicBezTo>
                    <a:cubicBezTo>
                      <a:pt x="2182482" y="2103394"/>
                      <a:pt x="2164670" y="2120158"/>
                      <a:pt x="2147049" y="2138255"/>
                    </a:cubicBezTo>
                    <a:cubicBezTo>
                      <a:pt x="2153430" y="2116729"/>
                      <a:pt x="2154097" y="2093107"/>
                      <a:pt x="2154859" y="2070913"/>
                    </a:cubicBezTo>
                    <a:cubicBezTo>
                      <a:pt x="2155716" y="2046720"/>
                      <a:pt x="2153716" y="2023765"/>
                      <a:pt x="2148096" y="2000238"/>
                    </a:cubicBezTo>
                    <a:cubicBezTo>
                      <a:pt x="2142000" y="1974425"/>
                      <a:pt x="2135047" y="1948422"/>
                      <a:pt x="2127427" y="1922990"/>
                    </a:cubicBezTo>
                    <a:cubicBezTo>
                      <a:pt x="2124379" y="1912894"/>
                      <a:pt x="2120283" y="1904321"/>
                      <a:pt x="2121903" y="1893844"/>
                    </a:cubicBezTo>
                    <a:cubicBezTo>
                      <a:pt x="2123998" y="1879842"/>
                      <a:pt x="2126951" y="1865554"/>
                      <a:pt x="2131428" y="1852124"/>
                    </a:cubicBezTo>
                    <a:cubicBezTo>
                      <a:pt x="2135714" y="1839265"/>
                      <a:pt x="2142667" y="1826978"/>
                      <a:pt x="2149239" y="1815072"/>
                    </a:cubicBezTo>
                    <a:cubicBezTo>
                      <a:pt x="2153907" y="1806595"/>
                      <a:pt x="2160098" y="1793164"/>
                      <a:pt x="2168194" y="1787735"/>
                    </a:cubicBezTo>
                    <a:cubicBezTo>
                      <a:pt x="2174100" y="1783830"/>
                      <a:pt x="2186196" y="1785735"/>
                      <a:pt x="2194102" y="1784497"/>
                    </a:cubicBezTo>
                    <a:cubicBezTo>
                      <a:pt x="2236584" y="1777448"/>
                      <a:pt x="2271064" y="1752874"/>
                      <a:pt x="2293924" y="1716488"/>
                    </a:cubicBezTo>
                    <a:cubicBezTo>
                      <a:pt x="2306878" y="1695914"/>
                      <a:pt x="2311736" y="1670959"/>
                      <a:pt x="2317070" y="1647527"/>
                    </a:cubicBezTo>
                    <a:cubicBezTo>
                      <a:pt x="2319356" y="1637621"/>
                      <a:pt x="2319927" y="1627906"/>
                      <a:pt x="2320975" y="1617809"/>
                    </a:cubicBezTo>
                    <a:cubicBezTo>
                      <a:pt x="2321928" y="1608951"/>
                      <a:pt x="2323833" y="1599045"/>
                      <a:pt x="2322785" y="1590187"/>
                    </a:cubicBezTo>
                    <a:cubicBezTo>
                      <a:pt x="2322023" y="1582948"/>
                      <a:pt x="2318975" y="1583995"/>
                      <a:pt x="2313069" y="1585805"/>
                    </a:cubicBezTo>
                    <a:cubicBezTo>
                      <a:pt x="2304783" y="1588377"/>
                      <a:pt x="2296496" y="1590758"/>
                      <a:pt x="2288590" y="1594378"/>
                    </a:cubicBezTo>
                    <a:cubicBezTo>
                      <a:pt x="2252395" y="1610856"/>
                      <a:pt x="2214676" y="1623810"/>
                      <a:pt x="2187530" y="1654480"/>
                    </a:cubicBezTo>
                    <a:cubicBezTo>
                      <a:pt x="2171433" y="1672673"/>
                      <a:pt x="2160384" y="1693533"/>
                      <a:pt x="2155526" y="1717250"/>
                    </a:cubicBezTo>
                    <a:cubicBezTo>
                      <a:pt x="2152764" y="1730776"/>
                      <a:pt x="2151525" y="1744492"/>
                      <a:pt x="2153526" y="1758303"/>
                    </a:cubicBezTo>
                    <a:cubicBezTo>
                      <a:pt x="2154383" y="1764208"/>
                      <a:pt x="2157431" y="1772019"/>
                      <a:pt x="2155431" y="1777543"/>
                    </a:cubicBezTo>
                    <a:cubicBezTo>
                      <a:pt x="2153621" y="1782401"/>
                      <a:pt x="2148763" y="1787068"/>
                      <a:pt x="2145906" y="1791450"/>
                    </a:cubicBezTo>
                    <a:cubicBezTo>
                      <a:pt x="2142858" y="1796117"/>
                      <a:pt x="2140000" y="1800975"/>
                      <a:pt x="2137333" y="1805928"/>
                    </a:cubicBezTo>
                    <a:cubicBezTo>
                      <a:pt x="2134095" y="1811929"/>
                      <a:pt x="2131047" y="1817929"/>
                      <a:pt x="2127713" y="1823835"/>
                    </a:cubicBezTo>
                    <a:cubicBezTo>
                      <a:pt x="2120093" y="1837456"/>
                      <a:pt x="2114568" y="1851076"/>
                      <a:pt x="2110854" y="1866126"/>
                    </a:cubicBezTo>
                    <a:cubicBezTo>
                      <a:pt x="2111044" y="1858125"/>
                      <a:pt x="2107710" y="1849552"/>
                      <a:pt x="2106282" y="1841742"/>
                    </a:cubicBezTo>
                    <a:cubicBezTo>
                      <a:pt x="2104567" y="1832979"/>
                      <a:pt x="2102281" y="1824502"/>
                      <a:pt x="2100090" y="1815929"/>
                    </a:cubicBezTo>
                    <a:cubicBezTo>
                      <a:pt x="2093613" y="1789735"/>
                      <a:pt x="2089708" y="1763256"/>
                      <a:pt x="2089803" y="1736205"/>
                    </a:cubicBezTo>
                    <a:cubicBezTo>
                      <a:pt x="2089803" y="1729918"/>
                      <a:pt x="2089898" y="1723537"/>
                      <a:pt x="2090280" y="1717250"/>
                    </a:cubicBezTo>
                    <a:cubicBezTo>
                      <a:pt x="2090660" y="1710392"/>
                      <a:pt x="2093327" y="1710487"/>
                      <a:pt x="2099138" y="1707439"/>
                    </a:cubicBezTo>
                    <a:cubicBezTo>
                      <a:pt x="2118378" y="1697152"/>
                      <a:pt x="2133047" y="1682865"/>
                      <a:pt x="2140857" y="1662291"/>
                    </a:cubicBezTo>
                    <a:cubicBezTo>
                      <a:pt x="2155812" y="1622762"/>
                      <a:pt x="2148382" y="1578947"/>
                      <a:pt x="2134571" y="1540180"/>
                    </a:cubicBezTo>
                    <a:cubicBezTo>
                      <a:pt x="2125427" y="1514463"/>
                      <a:pt x="2110187" y="1492555"/>
                      <a:pt x="2095042" y="1470172"/>
                    </a:cubicBezTo>
                    <a:cubicBezTo>
                      <a:pt x="2092661" y="1466647"/>
                      <a:pt x="2090756" y="1463028"/>
                      <a:pt x="2088851" y="1459313"/>
                    </a:cubicBezTo>
                    <a:cubicBezTo>
                      <a:pt x="2084660" y="1451217"/>
                      <a:pt x="2081707" y="1453027"/>
                      <a:pt x="2076468" y="1459313"/>
                    </a:cubicBezTo>
                    <a:cubicBezTo>
                      <a:pt x="2065514" y="1472553"/>
                      <a:pt x="2057609" y="1488364"/>
                      <a:pt x="2050084" y="1503795"/>
                    </a:cubicBezTo>
                    <a:cubicBezTo>
                      <a:pt x="2029129" y="1546562"/>
                      <a:pt x="2020461" y="1597997"/>
                      <a:pt x="2031891" y="1644574"/>
                    </a:cubicBezTo>
                    <a:cubicBezTo>
                      <a:pt x="2036654" y="1663910"/>
                      <a:pt x="2041702" y="1681817"/>
                      <a:pt x="2055227" y="1697057"/>
                    </a:cubicBezTo>
                    <a:cubicBezTo>
                      <a:pt x="2060276" y="1702772"/>
                      <a:pt x="2066277" y="1707916"/>
                      <a:pt x="2070277" y="1714488"/>
                    </a:cubicBezTo>
                    <a:cubicBezTo>
                      <a:pt x="2074944" y="1721917"/>
                      <a:pt x="2073420" y="1733443"/>
                      <a:pt x="2073897" y="1742491"/>
                    </a:cubicBezTo>
                    <a:cubicBezTo>
                      <a:pt x="2075516" y="1774019"/>
                      <a:pt x="2081993" y="1803166"/>
                      <a:pt x="2088756" y="1833836"/>
                    </a:cubicBezTo>
                    <a:cubicBezTo>
                      <a:pt x="2094661" y="1861078"/>
                      <a:pt x="2101329" y="1887843"/>
                      <a:pt x="2109615" y="1914418"/>
                    </a:cubicBezTo>
                    <a:cubicBezTo>
                      <a:pt x="2116378" y="1936039"/>
                      <a:pt x="2123903" y="1957566"/>
                      <a:pt x="2128761" y="1980140"/>
                    </a:cubicBezTo>
                    <a:cubicBezTo>
                      <a:pt x="2122284" y="1974044"/>
                      <a:pt x="2111616" y="1970615"/>
                      <a:pt x="2103805" y="1966234"/>
                    </a:cubicBezTo>
                    <a:cubicBezTo>
                      <a:pt x="2093709" y="1960519"/>
                      <a:pt x="2083612" y="1955470"/>
                      <a:pt x="2074087" y="1948803"/>
                    </a:cubicBezTo>
                    <a:cubicBezTo>
                      <a:pt x="2065991" y="1943183"/>
                      <a:pt x="2058561" y="1937182"/>
                      <a:pt x="2051227" y="1930610"/>
                    </a:cubicBezTo>
                    <a:cubicBezTo>
                      <a:pt x="2045322" y="1925276"/>
                      <a:pt x="2039511" y="1920228"/>
                      <a:pt x="2034272" y="1914322"/>
                    </a:cubicBezTo>
                    <a:cubicBezTo>
                      <a:pt x="2029129" y="1908512"/>
                      <a:pt x="2018842" y="1899368"/>
                      <a:pt x="2016366" y="1891843"/>
                    </a:cubicBezTo>
                    <a:cubicBezTo>
                      <a:pt x="2014365" y="1885938"/>
                      <a:pt x="2023509" y="1869936"/>
                      <a:pt x="2025319" y="1863459"/>
                    </a:cubicBezTo>
                    <a:cubicBezTo>
                      <a:pt x="2029891" y="1847266"/>
                      <a:pt x="2031606" y="1831074"/>
                      <a:pt x="2027224" y="1814691"/>
                    </a:cubicBezTo>
                    <a:cubicBezTo>
                      <a:pt x="2017889" y="1779353"/>
                      <a:pt x="1988552" y="1749635"/>
                      <a:pt x="1956834" y="1732966"/>
                    </a:cubicBezTo>
                    <a:cubicBezTo>
                      <a:pt x="1934165" y="1721060"/>
                      <a:pt x="1909400" y="1713916"/>
                      <a:pt x="1884159" y="1710011"/>
                    </a:cubicBezTo>
                    <a:cubicBezTo>
                      <a:pt x="1874443" y="1708487"/>
                      <a:pt x="1865489" y="1707249"/>
                      <a:pt x="1855964" y="1704963"/>
                    </a:cubicBezTo>
                    <a:cubicBezTo>
                      <a:pt x="1849392" y="1703344"/>
                      <a:pt x="1848916" y="1705534"/>
                      <a:pt x="1850440" y="1711630"/>
                    </a:cubicBezTo>
                    <a:cubicBezTo>
                      <a:pt x="1852250" y="1718965"/>
                      <a:pt x="1854822" y="1726108"/>
                      <a:pt x="1856727" y="1733443"/>
                    </a:cubicBezTo>
                    <a:cubicBezTo>
                      <a:pt x="1863108" y="1757255"/>
                      <a:pt x="1867585" y="1781639"/>
                      <a:pt x="1875300" y="1805071"/>
                    </a:cubicBezTo>
                    <a:cubicBezTo>
                      <a:pt x="1884159" y="1832122"/>
                      <a:pt x="1899875" y="1856029"/>
                      <a:pt x="1921973" y="1874127"/>
                    </a:cubicBezTo>
                    <a:cubicBezTo>
                      <a:pt x="1936737" y="1886319"/>
                      <a:pt x="1954739" y="1894891"/>
                      <a:pt x="1973313" y="1899368"/>
                    </a:cubicBezTo>
                    <a:cubicBezTo>
                      <a:pt x="1980742" y="1901178"/>
                      <a:pt x="1988648" y="1902511"/>
                      <a:pt x="1996268" y="1901559"/>
                    </a:cubicBezTo>
                    <a:cubicBezTo>
                      <a:pt x="2001983" y="1900892"/>
                      <a:pt x="2002935" y="1898797"/>
                      <a:pt x="2007412" y="1903559"/>
                    </a:cubicBezTo>
                    <a:cubicBezTo>
                      <a:pt x="2021890" y="1918704"/>
                      <a:pt x="2036844" y="1933182"/>
                      <a:pt x="2053037" y="1946326"/>
                    </a:cubicBezTo>
                    <a:cubicBezTo>
                      <a:pt x="2037321" y="1946707"/>
                      <a:pt x="2022843" y="1955566"/>
                      <a:pt x="2006936" y="1955185"/>
                    </a:cubicBezTo>
                    <a:cubicBezTo>
                      <a:pt x="1997697" y="1954899"/>
                      <a:pt x="1988552" y="1954994"/>
                      <a:pt x="1979313" y="1956232"/>
                    </a:cubicBezTo>
                    <a:cubicBezTo>
                      <a:pt x="1954453" y="1959471"/>
                      <a:pt x="1930450" y="1968329"/>
                      <a:pt x="1910257" y="1983474"/>
                    </a:cubicBezTo>
                    <a:cubicBezTo>
                      <a:pt x="1889683" y="1999000"/>
                      <a:pt x="1874919" y="2023765"/>
                      <a:pt x="1862442" y="2045767"/>
                    </a:cubicBezTo>
                    <a:cubicBezTo>
                      <a:pt x="1853107" y="2062246"/>
                      <a:pt x="1844344" y="2079486"/>
                      <a:pt x="1836629" y="2096726"/>
                    </a:cubicBezTo>
                    <a:cubicBezTo>
                      <a:pt x="1833105" y="2104632"/>
                      <a:pt x="1829199" y="2112157"/>
                      <a:pt x="1825104" y="2119777"/>
                    </a:cubicBezTo>
                    <a:cubicBezTo>
                      <a:pt x="1820913" y="2127682"/>
                      <a:pt x="1824722" y="2129016"/>
                      <a:pt x="1833200" y="2127968"/>
                    </a:cubicBezTo>
                    <a:cubicBezTo>
                      <a:pt x="1880634" y="2122063"/>
                      <a:pt x="1929497" y="2114633"/>
                      <a:pt x="1967693" y="2083391"/>
                    </a:cubicBezTo>
                    <a:cubicBezTo>
                      <a:pt x="1986647" y="2067865"/>
                      <a:pt x="2001411" y="2047577"/>
                      <a:pt x="2012841" y="2026051"/>
                    </a:cubicBezTo>
                    <a:cubicBezTo>
                      <a:pt x="2020842" y="2011001"/>
                      <a:pt x="2028748" y="1982807"/>
                      <a:pt x="2022366" y="1965757"/>
                    </a:cubicBezTo>
                    <a:cubicBezTo>
                      <a:pt x="2034844" y="1961852"/>
                      <a:pt x="2046846" y="1959090"/>
                      <a:pt x="2059990" y="1959376"/>
                    </a:cubicBezTo>
                    <a:cubicBezTo>
                      <a:pt x="2067610" y="1959566"/>
                      <a:pt x="2071325" y="1960709"/>
                      <a:pt x="2077516" y="1964805"/>
                    </a:cubicBezTo>
                    <a:cubicBezTo>
                      <a:pt x="2081421" y="1967472"/>
                      <a:pt x="2085422" y="1970139"/>
                      <a:pt x="2089422" y="1972615"/>
                    </a:cubicBezTo>
                    <a:cubicBezTo>
                      <a:pt x="2096947" y="1977283"/>
                      <a:pt x="2104758" y="1981759"/>
                      <a:pt x="2112473" y="1986141"/>
                    </a:cubicBezTo>
                    <a:cubicBezTo>
                      <a:pt x="2116759" y="1988522"/>
                      <a:pt x="2129237" y="1992237"/>
                      <a:pt x="2131713" y="1996428"/>
                    </a:cubicBezTo>
                    <a:cubicBezTo>
                      <a:pt x="2133999" y="2000333"/>
                      <a:pt x="2133428" y="2010334"/>
                      <a:pt x="2134095" y="2014906"/>
                    </a:cubicBezTo>
                    <a:cubicBezTo>
                      <a:pt x="2136095" y="2028527"/>
                      <a:pt x="2136381" y="2042434"/>
                      <a:pt x="2136952" y="2056245"/>
                    </a:cubicBezTo>
                    <a:cubicBezTo>
                      <a:pt x="2138286" y="2092916"/>
                      <a:pt x="2132761" y="2129969"/>
                      <a:pt x="2123522" y="2165402"/>
                    </a:cubicBezTo>
                    <a:cubicBezTo>
                      <a:pt x="2110282" y="2216265"/>
                      <a:pt x="2088660" y="2264176"/>
                      <a:pt x="2069991" y="2313229"/>
                    </a:cubicBezTo>
                    <a:cubicBezTo>
                      <a:pt x="2060371" y="2338375"/>
                      <a:pt x="2047989" y="2362569"/>
                      <a:pt x="2038845" y="2387906"/>
                    </a:cubicBezTo>
                    <a:cubicBezTo>
                      <a:pt x="2034368" y="2400288"/>
                      <a:pt x="2029224" y="2412766"/>
                      <a:pt x="2025891" y="2425529"/>
                    </a:cubicBezTo>
                    <a:cubicBezTo>
                      <a:pt x="2023700" y="2434007"/>
                      <a:pt x="2016556" y="2438578"/>
                      <a:pt x="2010365" y="2444770"/>
                    </a:cubicBezTo>
                    <a:cubicBezTo>
                      <a:pt x="2003031" y="2452104"/>
                      <a:pt x="1995887" y="2459724"/>
                      <a:pt x="1988838" y="2467344"/>
                    </a:cubicBezTo>
                    <a:cubicBezTo>
                      <a:pt x="1967121" y="2491061"/>
                      <a:pt x="1940356" y="2506968"/>
                      <a:pt x="1914639" y="2526018"/>
                    </a:cubicBezTo>
                    <a:cubicBezTo>
                      <a:pt x="1893017" y="2542020"/>
                      <a:pt x="1871300" y="2558403"/>
                      <a:pt x="1849868" y="2574881"/>
                    </a:cubicBezTo>
                    <a:cubicBezTo>
                      <a:pt x="1810054" y="2605456"/>
                      <a:pt x="1770335" y="2637079"/>
                      <a:pt x="1729377" y="2666036"/>
                    </a:cubicBezTo>
                    <a:cubicBezTo>
                      <a:pt x="1716042" y="2675465"/>
                      <a:pt x="1703088" y="2685276"/>
                      <a:pt x="1690039" y="2695087"/>
                    </a:cubicBezTo>
                    <a:cubicBezTo>
                      <a:pt x="1673751" y="2707469"/>
                      <a:pt x="1658035" y="2720519"/>
                      <a:pt x="1641557" y="2732711"/>
                    </a:cubicBezTo>
                    <a:cubicBezTo>
                      <a:pt x="1627174" y="2743283"/>
                      <a:pt x="1612125" y="2752903"/>
                      <a:pt x="1597837" y="2763667"/>
                    </a:cubicBezTo>
                    <a:cubicBezTo>
                      <a:pt x="1572881" y="2782431"/>
                      <a:pt x="1550307" y="2804434"/>
                      <a:pt x="1526400" y="2824627"/>
                    </a:cubicBezTo>
                    <a:cubicBezTo>
                      <a:pt x="1506588" y="2841295"/>
                      <a:pt x="1487918" y="2859107"/>
                      <a:pt x="1470107" y="2877871"/>
                    </a:cubicBezTo>
                    <a:cubicBezTo>
                      <a:pt x="1434579" y="2915114"/>
                      <a:pt x="1391621" y="2948071"/>
                      <a:pt x="1346187" y="2972169"/>
                    </a:cubicBezTo>
                    <a:cubicBezTo>
                      <a:pt x="1315326" y="2988552"/>
                      <a:pt x="1283036" y="3004268"/>
                      <a:pt x="1248174" y="3009602"/>
                    </a:cubicBezTo>
                    <a:cubicBezTo>
                      <a:pt x="1233410" y="3011888"/>
                      <a:pt x="1218647" y="3011984"/>
                      <a:pt x="1203788" y="3010936"/>
                    </a:cubicBezTo>
                    <a:cubicBezTo>
                      <a:pt x="1197216" y="3010460"/>
                      <a:pt x="1194263" y="3010936"/>
                      <a:pt x="1189596" y="3006650"/>
                    </a:cubicBezTo>
                    <a:cubicBezTo>
                      <a:pt x="1184071" y="3001506"/>
                      <a:pt x="1179118" y="2996267"/>
                      <a:pt x="1174546" y="2990362"/>
                    </a:cubicBezTo>
                    <a:cubicBezTo>
                      <a:pt x="1156734" y="2967121"/>
                      <a:pt x="1142161" y="2941879"/>
                      <a:pt x="1129302" y="2915590"/>
                    </a:cubicBezTo>
                    <a:cubicBezTo>
                      <a:pt x="1117396" y="2891302"/>
                      <a:pt x="1110824" y="2866156"/>
                      <a:pt x="1105014" y="2839867"/>
                    </a:cubicBezTo>
                    <a:cubicBezTo>
                      <a:pt x="1094250" y="2791670"/>
                      <a:pt x="1090726" y="2741283"/>
                      <a:pt x="1087297" y="2692039"/>
                    </a:cubicBezTo>
                    <a:cubicBezTo>
                      <a:pt x="1086821" y="2685276"/>
                      <a:pt x="1089488" y="2686133"/>
                      <a:pt x="1095870" y="2682800"/>
                    </a:cubicBezTo>
                    <a:cubicBezTo>
                      <a:pt x="1104347" y="2678418"/>
                      <a:pt x="1112634" y="2673560"/>
                      <a:pt x="1120635" y="2668417"/>
                    </a:cubicBezTo>
                    <a:cubicBezTo>
                      <a:pt x="1130064" y="2662321"/>
                      <a:pt x="1139018" y="2655558"/>
                      <a:pt x="1148638" y="2649653"/>
                    </a:cubicBezTo>
                    <a:cubicBezTo>
                      <a:pt x="1165402" y="2639365"/>
                      <a:pt x="1181023" y="2628317"/>
                      <a:pt x="1196358" y="2616029"/>
                    </a:cubicBezTo>
                    <a:cubicBezTo>
                      <a:pt x="1206074" y="2608123"/>
                      <a:pt x="1216170" y="2600694"/>
                      <a:pt x="1225791" y="2592693"/>
                    </a:cubicBezTo>
                    <a:cubicBezTo>
                      <a:pt x="1233030" y="2586692"/>
                      <a:pt x="1239792" y="2580120"/>
                      <a:pt x="1246269" y="2573357"/>
                    </a:cubicBezTo>
                    <a:cubicBezTo>
                      <a:pt x="1251413" y="2568023"/>
                      <a:pt x="1257033" y="2559927"/>
                      <a:pt x="1263605" y="2556688"/>
                    </a:cubicBezTo>
                    <a:cubicBezTo>
                      <a:pt x="1274463" y="2551259"/>
                      <a:pt x="1288084" y="2549259"/>
                      <a:pt x="1299514" y="2544782"/>
                    </a:cubicBezTo>
                    <a:cubicBezTo>
                      <a:pt x="1312659" y="2539639"/>
                      <a:pt x="1326089" y="2535448"/>
                      <a:pt x="1339138" y="2529733"/>
                    </a:cubicBezTo>
                    <a:cubicBezTo>
                      <a:pt x="1367237" y="2517541"/>
                      <a:pt x="1393050" y="2504206"/>
                      <a:pt x="1418100" y="2486585"/>
                    </a:cubicBezTo>
                    <a:cubicBezTo>
                      <a:pt x="1421053" y="2484489"/>
                      <a:pt x="1424196" y="2482679"/>
                      <a:pt x="1427339" y="2480774"/>
                    </a:cubicBezTo>
                    <a:cubicBezTo>
                      <a:pt x="1431054" y="2478584"/>
                      <a:pt x="1434674" y="2475631"/>
                      <a:pt x="1438484" y="2473821"/>
                    </a:cubicBezTo>
                    <a:cubicBezTo>
                      <a:pt x="1438674" y="2473726"/>
                      <a:pt x="1441627" y="2471154"/>
                      <a:pt x="1442103" y="2471154"/>
                    </a:cubicBezTo>
                    <a:cubicBezTo>
                      <a:pt x="1443342" y="2471249"/>
                      <a:pt x="1446675" y="2475726"/>
                      <a:pt x="1447723" y="2476583"/>
                    </a:cubicBezTo>
                    <a:cubicBezTo>
                      <a:pt x="1458581" y="2485442"/>
                      <a:pt x="1475060" y="2488585"/>
                      <a:pt x="1488776" y="2489728"/>
                    </a:cubicBezTo>
                    <a:cubicBezTo>
                      <a:pt x="1550688" y="2494776"/>
                      <a:pt x="1597932" y="2438578"/>
                      <a:pt x="1627460" y="2391430"/>
                    </a:cubicBezTo>
                    <a:cubicBezTo>
                      <a:pt x="1640795" y="2370094"/>
                      <a:pt x="1652892" y="2347424"/>
                      <a:pt x="1661655" y="2323898"/>
                    </a:cubicBezTo>
                    <a:cubicBezTo>
                      <a:pt x="1664893" y="2315230"/>
                      <a:pt x="1668131" y="2306562"/>
                      <a:pt x="1670989" y="2297799"/>
                    </a:cubicBezTo>
                    <a:cubicBezTo>
                      <a:pt x="1672132" y="2294370"/>
                      <a:pt x="1676799" y="2285131"/>
                      <a:pt x="1674989" y="2281702"/>
                    </a:cubicBezTo>
                    <a:cubicBezTo>
                      <a:pt x="1672037" y="2276177"/>
                      <a:pt x="1667846" y="2283226"/>
                      <a:pt x="1665846" y="2285036"/>
                    </a:cubicBezTo>
                    <a:cubicBezTo>
                      <a:pt x="1657178" y="2292941"/>
                      <a:pt x="1643938" y="2294751"/>
                      <a:pt x="1632794" y="2296656"/>
                    </a:cubicBezTo>
                    <a:cubicBezTo>
                      <a:pt x="1621459" y="2298561"/>
                      <a:pt x="1610029" y="2300180"/>
                      <a:pt x="1598694" y="2302085"/>
                    </a:cubicBezTo>
                    <a:cubicBezTo>
                      <a:pt x="1569262" y="2306943"/>
                      <a:pt x="1540687" y="2311039"/>
                      <a:pt x="1512588" y="2321421"/>
                    </a:cubicBezTo>
                    <a:cubicBezTo>
                      <a:pt x="1492491" y="2328850"/>
                      <a:pt x="1471535" y="2336470"/>
                      <a:pt x="1455629" y="2351329"/>
                    </a:cubicBezTo>
                    <a:cubicBezTo>
                      <a:pt x="1437055" y="2368760"/>
                      <a:pt x="1426577" y="2390763"/>
                      <a:pt x="1422863" y="2415909"/>
                    </a:cubicBezTo>
                    <a:cubicBezTo>
                      <a:pt x="1420767" y="2430482"/>
                      <a:pt x="1428673" y="2441245"/>
                      <a:pt x="1430768" y="2454866"/>
                    </a:cubicBezTo>
                    <a:cubicBezTo>
                      <a:pt x="1431626" y="2460486"/>
                      <a:pt x="1432197" y="2456390"/>
                      <a:pt x="1429435" y="2459724"/>
                    </a:cubicBezTo>
                    <a:cubicBezTo>
                      <a:pt x="1428006" y="2461438"/>
                      <a:pt x="1425530" y="2462581"/>
                      <a:pt x="1423910" y="2463915"/>
                    </a:cubicBezTo>
                    <a:cubicBezTo>
                      <a:pt x="1417910" y="2468678"/>
                      <a:pt x="1411909" y="2473345"/>
                      <a:pt x="1405527" y="2477726"/>
                    </a:cubicBezTo>
                    <a:cubicBezTo>
                      <a:pt x="1387335" y="2490204"/>
                      <a:pt x="1369523" y="2501729"/>
                      <a:pt x="1349806" y="2511635"/>
                    </a:cubicBezTo>
                    <a:cubicBezTo>
                      <a:pt x="1327613" y="2522779"/>
                      <a:pt x="1304658" y="2529828"/>
                      <a:pt x="1281321" y="2538115"/>
                    </a:cubicBezTo>
                    <a:cubicBezTo>
                      <a:pt x="1320850" y="2493347"/>
                      <a:pt x="1359426" y="2443246"/>
                      <a:pt x="1384096" y="2388477"/>
                    </a:cubicBezTo>
                    <a:cubicBezTo>
                      <a:pt x="1400098" y="2352853"/>
                      <a:pt x="1422387" y="2320849"/>
                      <a:pt x="1438960" y="2285607"/>
                    </a:cubicBezTo>
                    <a:cubicBezTo>
                      <a:pt x="1451533" y="2258842"/>
                      <a:pt x="1467345" y="2234553"/>
                      <a:pt x="1483918" y="2210264"/>
                    </a:cubicBezTo>
                    <a:cubicBezTo>
                      <a:pt x="1504778" y="2179594"/>
                      <a:pt x="1527066" y="2148637"/>
                      <a:pt x="1554879" y="2123873"/>
                    </a:cubicBezTo>
                    <a:cubicBezTo>
                      <a:pt x="1557260" y="2121682"/>
                      <a:pt x="1561547" y="2116538"/>
                      <a:pt x="1564595" y="2115586"/>
                    </a:cubicBezTo>
                    <a:cubicBezTo>
                      <a:pt x="1567738" y="2114538"/>
                      <a:pt x="1573834" y="2116538"/>
                      <a:pt x="1577358" y="2116538"/>
                    </a:cubicBezTo>
                    <a:cubicBezTo>
                      <a:pt x="1589455" y="2116538"/>
                      <a:pt x="1600790" y="2111395"/>
                      <a:pt x="1611267" y="2105965"/>
                    </a:cubicBezTo>
                    <a:cubicBezTo>
                      <a:pt x="1630031" y="2096155"/>
                      <a:pt x="1644033" y="2078438"/>
                      <a:pt x="1656225" y="2061579"/>
                    </a:cubicBezTo>
                    <a:cubicBezTo>
                      <a:pt x="1680990" y="2027289"/>
                      <a:pt x="1689563" y="1987093"/>
                      <a:pt x="1684991" y="1945469"/>
                    </a:cubicBezTo>
                    <a:cubicBezTo>
                      <a:pt x="1683086" y="1928038"/>
                      <a:pt x="1677180" y="1893939"/>
                      <a:pt x="1659368" y="1884795"/>
                    </a:cubicBezTo>
                    <a:cubicBezTo>
                      <a:pt x="1653654" y="1881842"/>
                      <a:pt x="1652415" y="1884700"/>
                      <a:pt x="1649367" y="1889081"/>
                    </a:cubicBezTo>
                    <a:cubicBezTo>
                      <a:pt x="1645367" y="1894796"/>
                      <a:pt x="1640509" y="1899844"/>
                      <a:pt x="1635461" y="1904512"/>
                    </a:cubicBezTo>
                    <a:cubicBezTo>
                      <a:pt x="1607076" y="1931086"/>
                      <a:pt x="1578025" y="1956137"/>
                      <a:pt x="1555451" y="1988236"/>
                    </a:cubicBezTo>
                    <a:cubicBezTo>
                      <a:pt x="1540306" y="2009668"/>
                      <a:pt x="1523447" y="2036052"/>
                      <a:pt x="1524685" y="2063484"/>
                    </a:cubicBezTo>
                    <a:cubicBezTo>
                      <a:pt x="1525352" y="2078533"/>
                      <a:pt x="1533924" y="2100441"/>
                      <a:pt x="1546593" y="2109013"/>
                    </a:cubicBezTo>
                    <a:cubicBezTo>
                      <a:pt x="1537830" y="2115300"/>
                      <a:pt x="1529733" y="2124349"/>
                      <a:pt x="1521827" y="2131778"/>
                    </a:cubicBezTo>
                    <a:cubicBezTo>
                      <a:pt x="1507254" y="2145494"/>
                      <a:pt x="1495062" y="2160925"/>
                      <a:pt x="1483347" y="2177117"/>
                    </a:cubicBezTo>
                    <a:cubicBezTo>
                      <a:pt x="1464011" y="2203787"/>
                      <a:pt x="1447723" y="2232648"/>
                      <a:pt x="1433245" y="2262175"/>
                    </a:cubicBezTo>
                    <a:cubicBezTo>
                      <a:pt x="1408194" y="2313325"/>
                      <a:pt x="1382286" y="2364474"/>
                      <a:pt x="1353045" y="2413337"/>
                    </a:cubicBezTo>
                    <a:cubicBezTo>
                      <a:pt x="1338567" y="2437531"/>
                      <a:pt x="1322850" y="2460677"/>
                      <a:pt x="1306563" y="2483727"/>
                    </a:cubicBezTo>
                    <a:cubicBezTo>
                      <a:pt x="1315230" y="2453628"/>
                      <a:pt x="1319517" y="2422577"/>
                      <a:pt x="1319135" y="2391239"/>
                    </a:cubicBezTo>
                    <a:cubicBezTo>
                      <a:pt x="1319040" y="2385048"/>
                      <a:pt x="1317326" y="2375809"/>
                      <a:pt x="1318945" y="2369617"/>
                    </a:cubicBezTo>
                    <a:cubicBezTo>
                      <a:pt x="1320183" y="2364855"/>
                      <a:pt x="1318945" y="2366474"/>
                      <a:pt x="1324660" y="2363236"/>
                    </a:cubicBezTo>
                    <a:cubicBezTo>
                      <a:pt x="1330089" y="2360188"/>
                      <a:pt x="1334852" y="2356378"/>
                      <a:pt x="1339329" y="2351996"/>
                    </a:cubicBezTo>
                    <a:cubicBezTo>
                      <a:pt x="1354950" y="2336470"/>
                      <a:pt x="1363617" y="2317706"/>
                      <a:pt x="1368285" y="2296275"/>
                    </a:cubicBezTo>
                    <a:cubicBezTo>
                      <a:pt x="1377333" y="2254079"/>
                      <a:pt x="1365998" y="2205311"/>
                      <a:pt x="1349711" y="2166259"/>
                    </a:cubicBezTo>
                    <a:cubicBezTo>
                      <a:pt x="1346853" y="2159496"/>
                      <a:pt x="1331518" y="2115205"/>
                      <a:pt x="1323422" y="2119110"/>
                    </a:cubicBezTo>
                    <a:cubicBezTo>
                      <a:pt x="1321231" y="2120158"/>
                      <a:pt x="1315611" y="2131969"/>
                      <a:pt x="1314373" y="2134160"/>
                    </a:cubicBezTo>
                    <a:cubicBezTo>
                      <a:pt x="1309896" y="2141970"/>
                      <a:pt x="1305801" y="2149971"/>
                      <a:pt x="1301229" y="2157686"/>
                    </a:cubicBezTo>
                    <a:cubicBezTo>
                      <a:pt x="1293704" y="2170259"/>
                      <a:pt x="1287417" y="2183785"/>
                      <a:pt x="1281131" y="2196929"/>
                    </a:cubicBezTo>
                    <a:cubicBezTo>
                      <a:pt x="1261890" y="2236839"/>
                      <a:pt x="1241031" y="2280749"/>
                      <a:pt x="1252746" y="2326088"/>
                    </a:cubicBezTo>
                    <a:cubicBezTo>
                      <a:pt x="1257985" y="2346281"/>
                      <a:pt x="1275416" y="2366855"/>
                      <a:pt x="1296847" y="2370189"/>
                    </a:cubicBezTo>
                    <a:cubicBezTo>
                      <a:pt x="1302943" y="2371141"/>
                      <a:pt x="1304277" y="2369427"/>
                      <a:pt x="1304848" y="2375809"/>
                    </a:cubicBezTo>
                    <a:cubicBezTo>
                      <a:pt x="1305039" y="2378190"/>
                      <a:pt x="1305324" y="2380476"/>
                      <a:pt x="1305515" y="2382857"/>
                    </a:cubicBezTo>
                    <a:cubicBezTo>
                      <a:pt x="1306563" y="2393430"/>
                      <a:pt x="1307229" y="2403907"/>
                      <a:pt x="1306563" y="2414575"/>
                    </a:cubicBezTo>
                    <a:cubicBezTo>
                      <a:pt x="1304277" y="2451247"/>
                      <a:pt x="1294561" y="2488299"/>
                      <a:pt x="1277035" y="2520684"/>
                    </a:cubicBezTo>
                    <a:cubicBezTo>
                      <a:pt x="1271130" y="2531543"/>
                      <a:pt x="1260843" y="2540115"/>
                      <a:pt x="1252270" y="2548878"/>
                    </a:cubicBezTo>
                    <a:cubicBezTo>
                      <a:pt x="1245507" y="2555736"/>
                      <a:pt x="1238935" y="2562689"/>
                      <a:pt x="1231887" y="2569166"/>
                    </a:cubicBezTo>
                    <a:cubicBezTo>
                      <a:pt x="1221599" y="2578596"/>
                      <a:pt x="1210932" y="2587740"/>
                      <a:pt x="1200359" y="2596789"/>
                    </a:cubicBezTo>
                    <a:cubicBezTo>
                      <a:pt x="1182642" y="2611838"/>
                      <a:pt x="1162449" y="2625554"/>
                      <a:pt x="1141875" y="2636413"/>
                    </a:cubicBezTo>
                    <a:cubicBezTo>
                      <a:pt x="1123111" y="2646223"/>
                      <a:pt x="1105204" y="2657939"/>
                      <a:pt x="1085964" y="2667083"/>
                    </a:cubicBezTo>
                    <a:cubicBezTo>
                      <a:pt x="1081772" y="2591740"/>
                      <a:pt x="1086821" y="2516874"/>
                      <a:pt x="1097394" y="2442198"/>
                    </a:cubicBezTo>
                    <a:cubicBezTo>
                      <a:pt x="1102537" y="2405717"/>
                      <a:pt x="1110062" y="2369046"/>
                      <a:pt x="1119111" y="2333327"/>
                    </a:cubicBezTo>
                    <a:cubicBezTo>
                      <a:pt x="1127874" y="2298561"/>
                      <a:pt x="1145209" y="2263319"/>
                      <a:pt x="1160640" y="2231124"/>
                    </a:cubicBezTo>
                    <a:cubicBezTo>
                      <a:pt x="1177308" y="2196453"/>
                      <a:pt x="1192929" y="2161401"/>
                      <a:pt x="1211217" y="2127492"/>
                    </a:cubicBezTo>
                    <a:cubicBezTo>
                      <a:pt x="1225695" y="2100632"/>
                      <a:pt x="1240840" y="2074247"/>
                      <a:pt x="1256080" y="2047863"/>
                    </a:cubicBezTo>
                    <a:cubicBezTo>
                      <a:pt x="1310754" y="1953280"/>
                      <a:pt x="1372380" y="1862887"/>
                      <a:pt x="1436484" y="1774400"/>
                    </a:cubicBezTo>
                    <a:cubicBezTo>
                      <a:pt x="1479918" y="1714488"/>
                      <a:pt x="1524399" y="1655147"/>
                      <a:pt x="1574977" y="1601045"/>
                    </a:cubicBezTo>
                    <a:cubicBezTo>
                      <a:pt x="1637461" y="1534084"/>
                      <a:pt x="1699469" y="1466933"/>
                      <a:pt x="1764048" y="1401973"/>
                    </a:cubicBezTo>
                    <a:cubicBezTo>
                      <a:pt x="1803577" y="1362253"/>
                      <a:pt x="1841106" y="1321105"/>
                      <a:pt x="1883111" y="1283863"/>
                    </a:cubicBezTo>
                    <a:cubicBezTo>
                      <a:pt x="1901685" y="1267384"/>
                      <a:pt x="1921306" y="1252144"/>
                      <a:pt x="1941118" y="1237190"/>
                    </a:cubicBezTo>
                    <a:cubicBezTo>
                      <a:pt x="1953596" y="1227760"/>
                      <a:pt x="1966740" y="1215283"/>
                      <a:pt x="1980361" y="1207853"/>
                    </a:cubicBezTo>
                    <a:cubicBezTo>
                      <a:pt x="1989981" y="1202614"/>
                      <a:pt x="2002554" y="1199662"/>
                      <a:pt x="2013032" y="1195566"/>
                    </a:cubicBezTo>
                    <a:cubicBezTo>
                      <a:pt x="2023033" y="1191565"/>
                      <a:pt x="2032939" y="1186612"/>
                      <a:pt x="2043321" y="1183469"/>
                    </a:cubicBezTo>
                    <a:cubicBezTo>
                      <a:pt x="2073611" y="1174420"/>
                      <a:pt x="2105234" y="1168515"/>
                      <a:pt x="2136666" y="1166038"/>
                    </a:cubicBezTo>
                    <a:cubicBezTo>
                      <a:pt x="2170480" y="1163371"/>
                      <a:pt x="2204675" y="1162419"/>
                      <a:pt x="2238584" y="1163657"/>
                    </a:cubicBezTo>
                    <a:cubicBezTo>
                      <a:pt x="2250014" y="1164038"/>
                      <a:pt x="2261444" y="1164895"/>
                      <a:pt x="2272779" y="1165657"/>
                    </a:cubicBezTo>
                    <a:cubicBezTo>
                      <a:pt x="2278113" y="1166038"/>
                      <a:pt x="2287352" y="1165086"/>
                      <a:pt x="2291448" y="1167943"/>
                    </a:cubicBezTo>
                    <a:cubicBezTo>
                      <a:pt x="2295543" y="1170801"/>
                      <a:pt x="2298210" y="1177468"/>
                      <a:pt x="2300592" y="1181659"/>
                    </a:cubicBezTo>
                    <a:cubicBezTo>
                      <a:pt x="2307259" y="1193661"/>
                      <a:pt x="2313641" y="1205853"/>
                      <a:pt x="2319451" y="1218331"/>
                    </a:cubicBezTo>
                    <a:cubicBezTo>
                      <a:pt x="2322594" y="1225093"/>
                      <a:pt x="2325452" y="1231856"/>
                      <a:pt x="2328214" y="1238714"/>
                    </a:cubicBezTo>
                    <a:cubicBezTo>
                      <a:pt x="2329833" y="1242715"/>
                      <a:pt x="2331262" y="1243858"/>
                      <a:pt x="2328500" y="1246906"/>
                    </a:cubicBezTo>
                    <a:cubicBezTo>
                      <a:pt x="2326309" y="1249287"/>
                      <a:pt x="2321737" y="1250430"/>
                      <a:pt x="2319070" y="1252525"/>
                    </a:cubicBezTo>
                    <a:cubicBezTo>
                      <a:pt x="2296020" y="1270337"/>
                      <a:pt x="2286209" y="1304722"/>
                      <a:pt x="2291352" y="1332345"/>
                    </a:cubicBezTo>
                    <a:cubicBezTo>
                      <a:pt x="2297163" y="1363587"/>
                      <a:pt x="2315451" y="1393686"/>
                      <a:pt x="2332691" y="1419880"/>
                    </a:cubicBezTo>
                    <a:cubicBezTo>
                      <a:pt x="2340311" y="1431500"/>
                      <a:pt x="2348407" y="1442835"/>
                      <a:pt x="2356218" y="1454265"/>
                    </a:cubicBezTo>
                    <a:cubicBezTo>
                      <a:pt x="2360599" y="1460647"/>
                      <a:pt x="2368791" y="1484078"/>
                      <a:pt x="2378220" y="1474267"/>
                    </a:cubicBezTo>
                    <a:cubicBezTo>
                      <a:pt x="2381268" y="1471029"/>
                      <a:pt x="2382888" y="1465123"/>
                      <a:pt x="2385364" y="1461218"/>
                    </a:cubicBezTo>
                    <a:cubicBezTo>
                      <a:pt x="2388603" y="1456075"/>
                      <a:pt x="2391460" y="1450931"/>
                      <a:pt x="2394127" y="1445502"/>
                    </a:cubicBezTo>
                    <a:cubicBezTo>
                      <a:pt x="2400318" y="1432738"/>
                      <a:pt x="2406605" y="1420261"/>
                      <a:pt x="2410986" y="1406640"/>
                    </a:cubicBezTo>
                    <a:cubicBezTo>
                      <a:pt x="2420226" y="1377303"/>
                      <a:pt x="2424798" y="1346632"/>
                      <a:pt x="2421940" y="1315867"/>
                    </a:cubicBezTo>
                    <a:cubicBezTo>
                      <a:pt x="2419749" y="1292816"/>
                      <a:pt x="2407843" y="1266718"/>
                      <a:pt x="2388317" y="1253668"/>
                    </a:cubicBezTo>
                    <a:cubicBezTo>
                      <a:pt x="2378792" y="1247287"/>
                      <a:pt x="2368219" y="1241000"/>
                      <a:pt x="2356599" y="1240143"/>
                    </a:cubicBezTo>
                    <a:cubicBezTo>
                      <a:pt x="2352027" y="1239762"/>
                      <a:pt x="2346883" y="1239762"/>
                      <a:pt x="2342406" y="1240619"/>
                    </a:cubicBezTo>
                    <a:cubicBezTo>
                      <a:pt x="2336977" y="1241667"/>
                      <a:pt x="2337263" y="1242334"/>
                      <a:pt x="2335072" y="1236904"/>
                    </a:cubicBezTo>
                    <a:cubicBezTo>
                      <a:pt x="2333358" y="1232809"/>
                      <a:pt x="2331548" y="1228808"/>
                      <a:pt x="2329738" y="1224808"/>
                    </a:cubicBezTo>
                    <a:cubicBezTo>
                      <a:pt x="2324118" y="1212806"/>
                      <a:pt x="2317832" y="1201281"/>
                      <a:pt x="2311450" y="1189660"/>
                    </a:cubicBezTo>
                    <a:cubicBezTo>
                      <a:pt x="2307450" y="1182326"/>
                      <a:pt x="2303925" y="1174135"/>
                      <a:pt x="2298687" y="1167562"/>
                    </a:cubicBezTo>
                    <a:cubicBezTo>
                      <a:pt x="2306688" y="1169848"/>
                      <a:pt x="2315641" y="1170039"/>
                      <a:pt x="2323928" y="1171277"/>
                    </a:cubicBezTo>
                    <a:cubicBezTo>
                      <a:pt x="2337834" y="1173373"/>
                      <a:pt x="2351646" y="1175849"/>
                      <a:pt x="2365552" y="1178421"/>
                    </a:cubicBezTo>
                    <a:cubicBezTo>
                      <a:pt x="2386698" y="1182421"/>
                      <a:pt x="2407081" y="1187660"/>
                      <a:pt x="2427465" y="1194423"/>
                    </a:cubicBezTo>
                    <a:cubicBezTo>
                      <a:pt x="2430322" y="1195375"/>
                      <a:pt x="2433370" y="1196042"/>
                      <a:pt x="2436132" y="1197185"/>
                    </a:cubicBezTo>
                    <a:cubicBezTo>
                      <a:pt x="2441085" y="1199376"/>
                      <a:pt x="2438228" y="1198233"/>
                      <a:pt x="2440704" y="1202233"/>
                    </a:cubicBezTo>
                    <a:cubicBezTo>
                      <a:pt x="2444991" y="1209282"/>
                      <a:pt x="2450039" y="1215664"/>
                      <a:pt x="2455468" y="1221760"/>
                    </a:cubicBezTo>
                    <a:cubicBezTo>
                      <a:pt x="2470137" y="1238047"/>
                      <a:pt x="2486996" y="1251097"/>
                      <a:pt x="2506522" y="1261003"/>
                    </a:cubicBezTo>
                    <a:cubicBezTo>
                      <a:pt x="2519762" y="1267670"/>
                      <a:pt x="2533383" y="1272814"/>
                      <a:pt x="2547575" y="1276814"/>
                    </a:cubicBezTo>
                    <a:cubicBezTo>
                      <a:pt x="2564434" y="1281577"/>
                      <a:pt x="2578817" y="1283005"/>
                      <a:pt x="2596152" y="1282910"/>
                    </a:cubicBezTo>
                    <a:cubicBezTo>
                      <a:pt x="2615393" y="1282720"/>
                      <a:pt x="2634633" y="1282434"/>
                      <a:pt x="2653683" y="1279672"/>
                    </a:cubicBezTo>
                    <a:cubicBezTo>
                      <a:pt x="2662065" y="1278433"/>
                      <a:pt x="2678544" y="1277671"/>
                      <a:pt x="2685306" y="1271575"/>
                    </a:cubicBezTo>
                    <a:cubicBezTo>
                      <a:pt x="2692355" y="1265194"/>
                      <a:pt x="2679496" y="1257764"/>
                      <a:pt x="2674733" y="1253192"/>
                    </a:cubicBezTo>
                    <a:cubicBezTo>
                      <a:pt x="2660065" y="1239381"/>
                      <a:pt x="2647683" y="1223379"/>
                      <a:pt x="2632538" y="1210044"/>
                    </a:cubicBezTo>
                    <a:cubicBezTo>
                      <a:pt x="2615202" y="1194804"/>
                      <a:pt x="2595676" y="1181945"/>
                      <a:pt x="2574626" y="1172611"/>
                    </a:cubicBezTo>
                    <a:cubicBezTo>
                      <a:pt x="2557386" y="1164895"/>
                      <a:pt x="2539193" y="1159752"/>
                      <a:pt x="2520143" y="1161085"/>
                    </a:cubicBezTo>
                    <a:cubicBezTo>
                      <a:pt x="2498521" y="1162609"/>
                      <a:pt x="2478328" y="1170420"/>
                      <a:pt x="2459849" y="1181755"/>
                    </a:cubicBezTo>
                    <a:cubicBezTo>
                      <a:pt x="2455658" y="1184326"/>
                      <a:pt x="2450420" y="1190327"/>
                      <a:pt x="2446324" y="1190422"/>
                    </a:cubicBezTo>
                    <a:cubicBezTo>
                      <a:pt x="2441752" y="1190518"/>
                      <a:pt x="2435275" y="1186708"/>
                      <a:pt x="2430798" y="1185184"/>
                    </a:cubicBezTo>
                    <a:cubicBezTo>
                      <a:pt x="2418416" y="1181183"/>
                      <a:pt x="2406033" y="1177183"/>
                      <a:pt x="2393270" y="1174135"/>
                    </a:cubicBezTo>
                    <a:cubicBezTo>
                      <a:pt x="2368600" y="1168324"/>
                      <a:pt x="2343549" y="1163752"/>
                      <a:pt x="2318689" y="1158895"/>
                    </a:cubicBezTo>
                    <a:cubicBezTo>
                      <a:pt x="2284875" y="1152322"/>
                      <a:pt x="2250776" y="1148417"/>
                      <a:pt x="2216391" y="1146607"/>
                    </a:cubicBezTo>
                    <a:cubicBezTo>
                      <a:pt x="2186292" y="1144988"/>
                      <a:pt x="2156097" y="1144131"/>
                      <a:pt x="2125903" y="1144702"/>
                    </a:cubicBezTo>
                    <a:cubicBezTo>
                      <a:pt x="2103615" y="1145083"/>
                      <a:pt x="2082564" y="1149179"/>
                      <a:pt x="2060752" y="1151846"/>
                    </a:cubicBezTo>
                    <a:cubicBezTo>
                      <a:pt x="2119617" y="1115080"/>
                      <a:pt x="2184387" y="1087171"/>
                      <a:pt x="2247633" y="1059073"/>
                    </a:cubicBezTo>
                    <a:cubicBezTo>
                      <a:pt x="2269635" y="1049262"/>
                      <a:pt x="2291162" y="1038403"/>
                      <a:pt x="2313355" y="1028878"/>
                    </a:cubicBezTo>
                    <a:cubicBezTo>
                      <a:pt x="2337549" y="1018496"/>
                      <a:pt x="2362599" y="1010590"/>
                      <a:pt x="2387555" y="1002113"/>
                    </a:cubicBezTo>
                    <a:cubicBezTo>
                      <a:pt x="2429274" y="988016"/>
                      <a:pt x="2471756" y="976872"/>
                      <a:pt x="2514237" y="965061"/>
                    </a:cubicBezTo>
                    <a:cubicBezTo>
                      <a:pt x="2566339" y="950583"/>
                      <a:pt x="2619774" y="943630"/>
                      <a:pt x="2673686" y="940296"/>
                    </a:cubicBezTo>
                    <a:cubicBezTo>
                      <a:pt x="2729979" y="936772"/>
                      <a:pt x="2785509" y="938200"/>
                      <a:pt x="2841707" y="942010"/>
                    </a:cubicBezTo>
                    <a:cubicBezTo>
                      <a:pt x="2872377" y="944106"/>
                      <a:pt x="2903048" y="946201"/>
                      <a:pt x="2933718" y="948678"/>
                    </a:cubicBezTo>
                    <a:cubicBezTo>
                      <a:pt x="2943434" y="949535"/>
                      <a:pt x="2953149" y="950011"/>
                      <a:pt x="2962865" y="950488"/>
                    </a:cubicBezTo>
                    <a:cubicBezTo>
                      <a:pt x="2971818" y="950964"/>
                      <a:pt x="2980772" y="951250"/>
                      <a:pt x="2989725" y="951726"/>
                    </a:cubicBezTo>
                    <a:cubicBezTo>
                      <a:pt x="3001536" y="952393"/>
                      <a:pt x="3015157" y="951726"/>
                      <a:pt x="3026778" y="954583"/>
                    </a:cubicBezTo>
                    <a:cubicBezTo>
                      <a:pt x="3035731" y="956774"/>
                      <a:pt x="3043732" y="965632"/>
                      <a:pt x="3050019" y="972490"/>
                    </a:cubicBezTo>
                    <a:cubicBezTo>
                      <a:pt x="3057353" y="980396"/>
                      <a:pt x="3064687" y="988397"/>
                      <a:pt x="3071259" y="996874"/>
                    </a:cubicBezTo>
                    <a:cubicBezTo>
                      <a:pt x="3085356" y="1014877"/>
                      <a:pt x="3099453" y="1033069"/>
                      <a:pt x="3110312" y="1053167"/>
                    </a:cubicBezTo>
                    <a:cubicBezTo>
                      <a:pt x="3114312" y="1060501"/>
                      <a:pt x="3122218" y="1070407"/>
                      <a:pt x="3124028" y="1078408"/>
                    </a:cubicBezTo>
                    <a:cubicBezTo>
                      <a:pt x="3124980" y="1082504"/>
                      <a:pt x="3124123" y="1082314"/>
                      <a:pt x="3121932" y="1086505"/>
                    </a:cubicBezTo>
                    <a:cubicBezTo>
                      <a:pt x="3120599" y="1088981"/>
                      <a:pt x="3119551" y="1091743"/>
                      <a:pt x="3118408" y="1094315"/>
                    </a:cubicBezTo>
                    <a:cubicBezTo>
                      <a:pt x="3110407" y="1112508"/>
                      <a:pt x="3105073" y="1132891"/>
                      <a:pt x="3104025" y="1152799"/>
                    </a:cubicBezTo>
                    <a:cubicBezTo>
                      <a:pt x="3101739" y="1195947"/>
                      <a:pt x="3117646" y="1235095"/>
                      <a:pt x="3150603" y="1263384"/>
                    </a:cubicBezTo>
                    <a:cubicBezTo>
                      <a:pt x="3175653" y="1284910"/>
                      <a:pt x="3210420" y="1302246"/>
                      <a:pt x="3243566" y="1306913"/>
                    </a:cubicBezTo>
                    <a:cubicBezTo>
                      <a:pt x="3261283" y="1309390"/>
                      <a:pt x="3279285" y="1309104"/>
                      <a:pt x="3297002" y="1311390"/>
                    </a:cubicBezTo>
                    <a:cubicBezTo>
                      <a:pt x="3303193" y="1312152"/>
                      <a:pt x="3304527" y="1310628"/>
                      <a:pt x="3304050" y="1304818"/>
                    </a:cubicBezTo>
                    <a:cubicBezTo>
                      <a:pt x="3303383" y="1296817"/>
                      <a:pt x="3300145" y="1288435"/>
                      <a:pt x="3297859" y="1280815"/>
                    </a:cubicBezTo>
                    <a:cubicBezTo>
                      <a:pt x="3287763" y="1246810"/>
                      <a:pt x="3273475" y="1214140"/>
                      <a:pt x="3257092" y="1182707"/>
                    </a:cubicBezTo>
                    <a:cubicBezTo>
                      <a:pt x="3246710" y="1162895"/>
                      <a:pt x="3234041" y="1144321"/>
                      <a:pt x="3218611" y="1128034"/>
                    </a:cubicBezTo>
                    <a:cubicBezTo>
                      <a:pt x="3204133" y="1112889"/>
                      <a:pt x="3187179" y="1096792"/>
                      <a:pt x="3168414" y="1087076"/>
                    </a:cubicBezTo>
                    <a:cubicBezTo>
                      <a:pt x="3160223" y="1082885"/>
                      <a:pt x="3151079" y="1080028"/>
                      <a:pt x="3141935" y="1078885"/>
                    </a:cubicBezTo>
                    <a:cubicBezTo>
                      <a:pt x="3136506" y="1078218"/>
                      <a:pt x="3135839" y="1079551"/>
                      <a:pt x="3132791" y="1075646"/>
                    </a:cubicBezTo>
                    <a:cubicBezTo>
                      <a:pt x="3129362" y="1071360"/>
                      <a:pt x="3127171" y="1065359"/>
                      <a:pt x="3124409" y="1060597"/>
                    </a:cubicBezTo>
                    <a:cubicBezTo>
                      <a:pt x="3112979" y="1040499"/>
                      <a:pt x="3101263" y="1020211"/>
                      <a:pt x="3086595" y="1002304"/>
                    </a:cubicBezTo>
                    <a:cubicBezTo>
                      <a:pt x="3073545" y="986397"/>
                      <a:pt x="3060687" y="970395"/>
                      <a:pt x="3045637" y="956203"/>
                    </a:cubicBezTo>
                    <a:cubicBezTo>
                      <a:pt x="3080118" y="959155"/>
                      <a:pt x="3114503" y="961918"/>
                      <a:pt x="3148983" y="964870"/>
                    </a:cubicBezTo>
                    <a:cubicBezTo>
                      <a:pt x="3152889" y="965156"/>
                      <a:pt x="3157937" y="964966"/>
                      <a:pt x="3161747" y="966013"/>
                    </a:cubicBezTo>
                    <a:cubicBezTo>
                      <a:pt x="3168605" y="967823"/>
                      <a:pt x="3172796" y="976110"/>
                      <a:pt x="3177844" y="981539"/>
                    </a:cubicBezTo>
                    <a:cubicBezTo>
                      <a:pt x="3195180" y="999732"/>
                      <a:pt x="3212991" y="1018591"/>
                      <a:pt x="3232518" y="1034308"/>
                    </a:cubicBezTo>
                    <a:cubicBezTo>
                      <a:pt x="3250710" y="1048976"/>
                      <a:pt x="3271189" y="1060406"/>
                      <a:pt x="3291763" y="1071169"/>
                    </a:cubicBezTo>
                    <a:cubicBezTo>
                      <a:pt x="3302241" y="1076694"/>
                      <a:pt x="3312432" y="1081837"/>
                      <a:pt x="3323672" y="1085647"/>
                    </a:cubicBezTo>
                    <a:cubicBezTo>
                      <a:pt x="3329196" y="1087552"/>
                      <a:pt x="3334816" y="1089457"/>
                      <a:pt x="3340341" y="1091362"/>
                    </a:cubicBezTo>
                    <a:cubicBezTo>
                      <a:pt x="3347865" y="1094029"/>
                      <a:pt x="3346056" y="1094791"/>
                      <a:pt x="3346437" y="1102316"/>
                    </a:cubicBezTo>
                    <a:cubicBezTo>
                      <a:pt x="3348437" y="1139845"/>
                      <a:pt x="3376155" y="1177183"/>
                      <a:pt x="3402824" y="1201281"/>
                    </a:cubicBezTo>
                    <a:cubicBezTo>
                      <a:pt x="3416922" y="1214140"/>
                      <a:pt x="3436162" y="1223474"/>
                      <a:pt x="3453783" y="1230904"/>
                    </a:cubicBezTo>
                    <a:cubicBezTo>
                      <a:pt x="3474929" y="1239762"/>
                      <a:pt x="3496836" y="1244429"/>
                      <a:pt x="3519601" y="1246715"/>
                    </a:cubicBezTo>
                    <a:cubicBezTo>
                      <a:pt x="3550081" y="1249763"/>
                      <a:pt x="3579704" y="1248525"/>
                      <a:pt x="3609517" y="1241476"/>
                    </a:cubicBezTo>
                    <a:cubicBezTo>
                      <a:pt x="3615327" y="1240143"/>
                      <a:pt x="3621138" y="1238619"/>
                      <a:pt x="3626948" y="1237666"/>
                    </a:cubicBezTo>
                    <a:cubicBezTo>
                      <a:pt x="3632091" y="1236809"/>
                      <a:pt x="3641902" y="1237571"/>
                      <a:pt x="3646283" y="1235761"/>
                    </a:cubicBezTo>
                    <a:cubicBezTo>
                      <a:pt x="3651618" y="1233571"/>
                      <a:pt x="3648570" y="1230523"/>
                      <a:pt x="3645998" y="1226332"/>
                    </a:cubicBezTo>
                    <a:cubicBezTo>
                      <a:pt x="3641235" y="1218521"/>
                      <a:pt x="3635901" y="1211187"/>
                      <a:pt x="3630853" y="1203567"/>
                    </a:cubicBezTo>
                    <a:cubicBezTo>
                      <a:pt x="3609803" y="1171658"/>
                      <a:pt x="3588562" y="1139654"/>
                      <a:pt x="3561225" y="1112508"/>
                    </a:cubicBezTo>
                    <a:cubicBezTo>
                      <a:pt x="3525697" y="1077265"/>
                      <a:pt x="3477977" y="1048214"/>
                      <a:pt x="3426447" y="1052215"/>
                    </a:cubicBezTo>
                    <a:cubicBezTo>
                      <a:pt x="3404634" y="1053929"/>
                      <a:pt x="3388442" y="1059644"/>
                      <a:pt x="3369582" y="1070503"/>
                    </a:cubicBezTo>
                    <a:cubicBezTo>
                      <a:pt x="3363867" y="1073836"/>
                      <a:pt x="3358152" y="1076313"/>
                      <a:pt x="3352628" y="1080313"/>
                    </a:cubicBezTo>
                    <a:cubicBezTo>
                      <a:pt x="3348532" y="1083361"/>
                      <a:pt x="3348913" y="1083266"/>
                      <a:pt x="3342531" y="1081933"/>
                    </a:cubicBezTo>
                    <a:cubicBezTo>
                      <a:pt x="3336054" y="1080599"/>
                      <a:pt x="3329958" y="1078408"/>
                      <a:pt x="3323958" y="1075837"/>
                    </a:cubicBezTo>
                    <a:cubicBezTo>
                      <a:pt x="3317481" y="1073646"/>
                      <a:pt x="3306241" y="1067264"/>
                      <a:pt x="3297764" y="1063740"/>
                    </a:cubicBezTo>
                    <a:cubicBezTo>
                      <a:pt x="3277285" y="1055548"/>
                      <a:pt x="3254711" y="1036975"/>
                      <a:pt x="3236423" y="1023068"/>
                    </a:cubicBezTo>
                    <a:cubicBezTo>
                      <a:pt x="3215944" y="1007447"/>
                      <a:pt x="3196418" y="988397"/>
                      <a:pt x="3181368" y="967347"/>
                    </a:cubicBezTo>
                    <a:cubicBezTo>
                      <a:pt x="3222231" y="970395"/>
                      <a:pt x="3263283" y="971538"/>
                      <a:pt x="3304146" y="975062"/>
                    </a:cubicBezTo>
                    <a:cubicBezTo>
                      <a:pt x="3328053" y="977158"/>
                      <a:pt x="3352056" y="979253"/>
                      <a:pt x="3375964" y="980396"/>
                    </a:cubicBezTo>
                    <a:cubicBezTo>
                      <a:pt x="3408254" y="981920"/>
                      <a:pt x="3440639" y="983635"/>
                      <a:pt x="3472929" y="984206"/>
                    </a:cubicBezTo>
                    <a:cubicBezTo>
                      <a:pt x="3501027" y="984778"/>
                      <a:pt x="3529221" y="982873"/>
                      <a:pt x="3557320" y="982206"/>
                    </a:cubicBezTo>
                    <a:cubicBezTo>
                      <a:pt x="3610565" y="980968"/>
                      <a:pt x="3662762" y="976205"/>
                      <a:pt x="3715245" y="967442"/>
                    </a:cubicBezTo>
                    <a:cubicBezTo>
                      <a:pt x="3772014" y="958012"/>
                      <a:pt x="3829164" y="953155"/>
                      <a:pt x="3885837" y="942487"/>
                    </a:cubicBezTo>
                    <a:cubicBezTo>
                      <a:pt x="3936129" y="932962"/>
                      <a:pt x="3986136" y="922675"/>
                      <a:pt x="4035570" y="909244"/>
                    </a:cubicBezTo>
                    <a:cubicBezTo>
                      <a:pt x="4084624" y="895909"/>
                      <a:pt x="4133202" y="880669"/>
                      <a:pt x="4181779" y="865715"/>
                    </a:cubicBezTo>
                    <a:cubicBezTo>
                      <a:pt x="4202067" y="859429"/>
                      <a:pt x="4221975" y="852285"/>
                      <a:pt x="4241882" y="845141"/>
                    </a:cubicBezTo>
                    <a:cubicBezTo>
                      <a:pt x="4247406" y="843141"/>
                      <a:pt x="4248359" y="842093"/>
                      <a:pt x="4253217" y="845998"/>
                    </a:cubicBezTo>
                    <a:cubicBezTo>
                      <a:pt x="4261313" y="852475"/>
                      <a:pt x="4269123" y="859429"/>
                      <a:pt x="4275981" y="867144"/>
                    </a:cubicBezTo>
                    <a:cubicBezTo>
                      <a:pt x="4280744" y="872478"/>
                      <a:pt x="4291031" y="882574"/>
                      <a:pt x="4291888" y="889432"/>
                    </a:cubicBezTo>
                    <a:cubicBezTo>
                      <a:pt x="4292269" y="892290"/>
                      <a:pt x="4290840" y="896195"/>
                      <a:pt x="4290459" y="899053"/>
                    </a:cubicBezTo>
                    <a:cubicBezTo>
                      <a:pt x="4289698" y="904958"/>
                      <a:pt x="4289983" y="910959"/>
                      <a:pt x="4289793" y="916864"/>
                    </a:cubicBezTo>
                    <a:cubicBezTo>
                      <a:pt x="4288173" y="954679"/>
                      <a:pt x="4294555" y="992302"/>
                      <a:pt x="4317130" y="1023735"/>
                    </a:cubicBezTo>
                    <a:cubicBezTo>
                      <a:pt x="4332846" y="1045547"/>
                      <a:pt x="4356849" y="1056882"/>
                      <a:pt x="4381518" y="1065264"/>
                    </a:cubicBezTo>
                    <a:cubicBezTo>
                      <a:pt x="4391710" y="1068693"/>
                      <a:pt x="4401997" y="1069550"/>
                      <a:pt x="4412665" y="1070788"/>
                    </a:cubicBezTo>
                    <a:cubicBezTo>
                      <a:pt x="4418380" y="1071455"/>
                      <a:pt x="4424095" y="1072027"/>
                      <a:pt x="4429906" y="1072312"/>
                    </a:cubicBezTo>
                    <a:cubicBezTo>
                      <a:pt x="4437430" y="1072693"/>
                      <a:pt x="4445907" y="1076694"/>
                      <a:pt x="4453147" y="1076408"/>
                    </a:cubicBezTo>
                    <a:cubicBezTo>
                      <a:pt x="4459909" y="1076122"/>
                      <a:pt x="4457718" y="1071741"/>
                      <a:pt x="4456575" y="1066978"/>
                    </a:cubicBezTo>
                    <a:cubicBezTo>
                      <a:pt x="4454290" y="1057930"/>
                      <a:pt x="4452004" y="1048976"/>
                      <a:pt x="4449337" y="1040023"/>
                    </a:cubicBezTo>
                    <a:cubicBezTo>
                      <a:pt x="4445717" y="1027926"/>
                      <a:pt x="4442193" y="1015734"/>
                      <a:pt x="4437906" y="1003732"/>
                    </a:cubicBezTo>
                    <a:cubicBezTo>
                      <a:pt x="4426857" y="972300"/>
                      <a:pt x="4414475" y="941439"/>
                      <a:pt x="4394187" y="914674"/>
                    </a:cubicBezTo>
                    <a:cubicBezTo>
                      <a:pt x="4382947" y="899910"/>
                      <a:pt x="4369803" y="887623"/>
                      <a:pt x="4351991" y="881717"/>
                    </a:cubicBezTo>
                    <a:cubicBezTo>
                      <a:pt x="4343133" y="878764"/>
                      <a:pt x="4334084" y="876002"/>
                      <a:pt x="4324749" y="875526"/>
                    </a:cubicBezTo>
                    <a:cubicBezTo>
                      <a:pt x="4320463" y="875335"/>
                      <a:pt x="4315891" y="875335"/>
                      <a:pt x="4311700" y="875907"/>
                    </a:cubicBezTo>
                    <a:cubicBezTo>
                      <a:pt x="4306271" y="876669"/>
                      <a:pt x="4303128" y="879336"/>
                      <a:pt x="4298937" y="876574"/>
                    </a:cubicBezTo>
                    <a:cubicBezTo>
                      <a:pt x="4292460" y="872287"/>
                      <a:pt x="4286173" y="862572"/>
                      <a:pt x="4280649" y="857047"/>
                    </a:cubicBezTo>
                    <a:cubicBezTo>
                      <a:pt x="4274076" y="850570"/>
                      <a:pt x="4268171" y="843522"/>
                      <a:pt x="4260837" y="837807"/>
                    </a:cubicBezTo>
                    <a:cubicBezTo>
                      <a:pt x="4290364" y="826472"/>
                      <a:pt x="4320273" y="815995"/>
                      <a:pt x="4349991" y="805041"/>
                    </a:cubicBezTo>
                    <a:cubicBezTo>
                      <a:pt x="4356373" y="802660"/>
                      <a:pt x="4362849" y="800278"/>
                      <a:pt x="4369231" y="797802"/>
                    </a:cubicBezTo>
                    <a:cubicBezTo>
                      <a:pt x="4373137" y="796278"/>
                      <a:pt x="4377137" y="794849"/>
                      <a:pt x="4381042" y="793325"/>
                    </a:cubicBezTo>
                    <a:cubicBezTo>
                      <a:pt x="4384376" y="791992"/>
                      <a:pt x="4390472" y="787991"/>
                      <a:pt x="4394091" y="788086"/>
                    </a:cubicBezTo>
                    <a:cubicBezTo>
                      <a:pt x="4396663" y="788182"/>
                      <a:pt x="4401807" y="791801"/>
                      <a:pt x="4404474" y="792849"/>
                    </a:cubicBezTo>
                    <a:cubicBezTo>
                      <a:pt x="4421333" y="799516"/>
                      <a:pt x="4438859" y="803898"/>
                      <a:pt x="4456480" y="808184"/>
                    </a:cubicBezTo>
                    <a:cubicBezTo>
                      <a:pt x="4465719" y="810470"/>
                      <a:pt x="4475149" y="812089"/>
                      <a:pt x="4484484" y="814090"/>
                    </a:cubicBezTo>
                    <a:cubicBezTo>
                      <a:pt x="4487913" y="814852"/>
                      <a:pt x="4495628" y="814947"/>
                      <a:pt x="4498390" y="817042"/>
                    </a:cubicBezTo>
                    <a:cubicBezTo>
                      <a:pt x="4500772" y="818852"/>
                      <a:pt x="4503248" y="826186"/>
                      <a:pt x="4505058" y="828949"/>
                    </a:cubicBezTo>
                    <a:cubicBezTo>
                      <a:pt x="4518869" y="849427"/>
                      <a:pt x="4541919" y="861619"/>
                      <a:pt x="4564684" y="869525"/>
                    </a:cubicBezTo>
                    <a:cubicBezTo>
                      <a:pt x="4590783" y="878574"/>
                      <a:pt x="4620596" y="882574"/>
                      <a:pt x="4647647" y="874764"/>
                    </a:cubicBezTo>
                    <a:cubicBezTo>
                      <a:pt x="4681937" y="864953"/>
                      <a:pt x="4711369" y="843046"/>
                      <a:pt x="4730038" y="812566"/>
                    </a:cubicBezTo>
                    <a:cubicBezTo>
                      <a:pt x="4733467" y="806946"/>
                      <a:pt x="4735372" y="800564"/>
                      <a:pt x="4738515" y="794659"/>
                    </a:cubicBezTo>
                    <a:cubicBezTo>
                      <a:pt x="4741849" y="788277"/>
                      <a:pt x="4742516" y="786562"/>
                      <a:pt x="4734896" y="783610"/>
                    </a:cubicBezTo>
                    <a:cubicBezTo>
                      <a:pt x="4722037" y="778466"/>
                      <a:pt x="4708988" y="773608"/>
                      <a:pt x="4696129" y="768560"/>
                    </a:cubicBezTo>
                    <a:cubicBezTo>
                      <a:pt x="4668221" y="757606"/>
                      <a:pt x="4638693" y="746462"/>
                      <a:pt x="4608404" y="745319"/>
                    </a:cubicBezTo>
                    <a:cubicBezTo>
                      <a:pt x="4572781" y="744081"/>
                      <a:pt x="4531442" y="758273"/>
                      <a:pt x="4508773" y="786943"/>
                    </a:cubicBezTo>
                    <a:cubicBezTo>
                      <a:pt x="4505248" y="791420"/>
                      <a:pt x="4502772" y="797040"/>
                      <a:pt x="4499343" y="801707"/>
                    </a:cubicBezTo>
                    <a:cubicBezTo>
                      <a:pt x="4496771" y="805136"/>
                      <a:pt x="4499343" y="803803"/>
                      <a:pt x="4496199" y="804660"/>
                    </a:cubicBezTo>
                    <a:cubicBezTo>
                      <a:pt x="4493914" y="805231"/>
                      <a:pt x="4490294" y="803707"/>
                      <a:pt x="4487913" y="803136"/>
                    </a:cubicBezTo>
                    <a:cubicBezTo>
                      <a:pt x="4483150" y="802183"/>
                      <a:pt x="4478388" y="801136"/>
                      <a:pt x="4473721" y="799993"/>
                    </a:cubicBezTo>
                    <a:cubicBezTo>
                      <a:pt x="4452004" y="794944"/>
                      <a:pt x="4429620" y="790182"/>
                      <a:pt x="4408855" y="781990"/>
                    </a:cubicBezTo>
                    <a:cubicBezTo>
                      <a:pt x="4465910" y="757225"/>
                      <a:pt x="4522203" y="730270"/>
                      <a:pt x="4578496" y="703600"/>
                    </a:cubicBezTo>
                    <a:cubicBezTo>
                      <a:pt x="4587735" y="699218"/>
                      <a:pt x="4597069" y="694741"/>
                      <a:pt x="4606213" y="690265"/>
                    </a:cubicBezTo>
                    <a:cubicBezTo>
                      <a:pt x="4611928" y="687407"/>
                      <a:pt x="4617643" y="684645"/>
                      <a:pt x="4623454" y="681978"/>
                    </a:cubicBezTo>
                    <a:cubicBezTo>
                      <a:pt x="4628311" y="679692"/>
                      <a:pt x="4633169" y="677596"/>
                      <a:pt x="4638027" y="675406"/>
                    </a:cubicBezTo>
                    <a:cubicBezTo>
                      <a:pt x="4642218" y="673501"/>
                      <a:pt x="4642789" y="673405"/>
                      <a:pt x="4647075" y="673786"/>
                    </a:cubicBezTo>
                    <a:cubicBezTo>
                      <a:pt x="4651362" y="674167"/>
                      <a:pt x="4655743" y="675977"/>
                      <a:pt x="4660125" y="676453"/>
                    </a:cubicBezTo>
                    <a:cubicBezTo>
                      <a:pt x="4706702" y="681406"/>
                      <a:pt x="4751946" y="677311"/>
                      <a:pt x="4792237" y="651212"/>
                    </a:cubicBezTo>
                    <a:cubicBezTo>
                      <a:pt x="4828241" y="627876"/>
                      <a:pt x="4853482" y="590062"/>
                      <a:pt x="4869294" y="551104"/>
                    </a:cubicBezTo>
                    <a:cubicBezTo>
                      <a:pt x="4876533" y="533197"/>
                      <a:pt x="4878723" y="514528"/>
                      <a:pt x="4884819" y="496336"/>
                    </a:cubicBezTo>
                    <a:cubicBezTo>
                      <a:pt x="4888630" y="484715"/>
                      <a:pt x="4880724" y="488430"/>
                      <a:pt x="4871675" y="490144"/>
                    </a:cubicBezTo>
                    <a:cubicBezTo>
                      <a:pt x="4858531" y="492716"/>
                      <a:pt x="4845386" y="495097"/>
                      <a:pt x="4832337" y="497764"/>
                    </a:cubicBezTo>
                    <a:cubicBezTo>
                      <a:pt x="4787188" y="506908"/>
                      <a:pt x="4737563" y="522244"/>
                      <a:pt x="4700415" y="549961"/>
                    </a:cubicBezTo>
                    <a:cubicBezTo>
                      <a:pt x="4680699" y="564630"/>
                      <a:pt x="4662506" y="584061"/>
                      <a:pt x="4651266" y="605968"/>
                    </a:cubicBezTo>
                    <a:cubicBezTo>
                      <a:pt x="4644599" y="619018"/>
                      <a:pt x="4636979" y="634924"/>
                      <a:pt x="4633836" y="649307"/>
                    </a:cubicBezTo>
                    <a:cubicBezTo>
                      <a:pt x="4632693" y="654641"/>
                      <a:pt x="4633074" y="654070"/>
                      <a:pt x="4629359" y="656641"/>
                    </a:cubicBezTo>
                    <a:cubicBezTo>
                      <a:pt x="4626978" y="658261"/>
                      <a:pt x="4623644" y="659118"/>
                      <a:pt x="4620977" y="660261"/>
                    </a:cubicBezTo>
                    <a:cubicBezTo>
                      <a:pt x="4610785" y="664547"/>
                      <a:pt x="4600403" y="668643"/>
                      <a:pt x="4590116" y="672643"/>
                    </a:cubicBezTo>
                    <a:cubicBezTo>
                      <a:pt x="4574495" y="678739"/>
                      <a:pt x="4559065" y="685216"/>
                      <a:pt x="4543729" y="692074"/>
                    </a:cubicBezTo>
                    <a:cubicBezTo>
                      <a:pt x="4505629" y="709219"/>
                      <a:pt x="4466863" y="726650"/>
                      <a:pt x="4427429" y="740557"/>
                    </a:cubicBezTo>
                    <a:cubicBezTo>
                      <a:pt x="4435240" y="731032"/>
                      <a:pt x="4442764" y="721221"/>
                      <a:pt x="4450765" y="711791"/>
                    </a:cubicBezTo>
                    <a:cubicBezTo>
                      <a:pt x="4457433" y="703885"/>
                      <a:pt x="4463148" y="694551"/>
                      <a:pt x="4472292" y="689788"/>
                    </a:cubicBezTo>
                    <a:cubicBezTo>
                      <a:pt x="4482579" y="684454"/>
                      <a:pt x="4492771" y="680454"/>
                      <a:pt x="4502581" y="673977"/>
                    </a:cubicBezTo>
                    <a:cubicBezTo>
                      <a:pt x="4514583" y="666071"/>
                      <a:pt x="4526775" y="657880"/>
                      <a:pt x="4537443" y="648259"/>
                    </a:cubicBezTo>
                    <a:cubicBezTo>
                      <a:pt x="4558112" y="629400"/>
                      <a:pt x="4569923" y="601587"/>
                      <a:pt x="4575257" y="574536"/>
                    </a:cubicBezTo>
                    <a:cubicBezTo>
                      <a:pt x="4577829" y="561487"/>
                      <a:pt x="4579734" y="547866"/>
                      <a:pt x="4579924" y="534531"/>
                    </a:cubicBezTo>
                    <a:cubicBezTo>
                      <a:pt x="4580019" y="527292"/>
                      <a:pt x="4579639" y="520053"/>
                      <a:pt x="4579067" y="512814"/>
                    </a:cubicBezTo>
                    <a:cubicBezTo>
                      <a:pt x="4578686" y="508528"/>
                      <a:pt x="4579162" y="500908"/>
                      <a:pt x="4575924" y="497479"/>
                    </a:cubicBezTo>
                    <a:cubicBezTo>
                      <a:pt x="4570399" y="491668"/>
                      <a:pt x="4558207" y="501289"/>
                      <a:pt x="4552492" y="503860"/>
                    </a:cubicBezTo>
                    <a:cubicBezTo>
                      <a:pt x="4542681" y="508242"/>
                      <a:pt x="4532680" y="512338"/>
                      <a:pt x="4523155" y="517386"/>
                    </a:cubicBezTo>
                    <a:cubicBezTo>
                      <a:pt x="4502676" y="528149"/>
                      <a:pt x="4484389" y="541770"/>
                      <a:pt x="4472006" y="561772"/>
                    </a:cubicBezTo>
                    <a:cubicBezTo>
                      <a:pt x="4458671" y="583394"/>
                      <a:pt x="4453147" y="608064"/>
                      <a:pt x="4453432" y="633210"/>
                    </a:cubicBezTo>
                    <a:cubicBezTo>
                      <a:pt x="4453527" y="644640"/>
                      <a:pt x="4454194" y="657308"/>
                      <a:pt x="4457528" y="668262"/>
                    </a:cubicBezTo>
                    <a:cubicBezTo>
                      <a:pt x="4459623" y="675310"/>
                      <a:pt x="4460862" y="676549"/>
                      <a:pt x="4456385" y="683026"/>
                    </a:cubicBezTo>
                    <a:cubicBezTo>
                      <a:pt x="4447146" y="696361"/>
                      <a:pt x="4435049" y="709219"/>
                      <a:pt x="4425333" y="721792"/>
                    </a:cubicBezTo>
                    <a:cubicBezTo>
                      <a:pt x="4418666" y="730365"/>
                      <a:pt x="4410379" y="744081"/>
                      <a:pt x="4401235" y="750082"/>
                    </a:cubicBezTo>
                    <a:cubicBezTo>
                      <a:pt x="4394568" y="754558"/>
                      <a:pt x="4384757" y="756463"/>
                      <a:pt x="4377232" y="759607"/>
                    </a:cubicBezTo>
                    <a:cubicBezTo>
                      <a:pt x="4355325" y="768655"/>
                      <a:pt x="4333227" y="777418"/>
                      <a:pt x="4311319" y="786277"/>
                    </a:cubicBezTo>
                    <a:cubicBezTo>
                      <a:pt x="4236548" y="816471"/>
                      <a:pt x="4160538" y="840760"/>
                      <a:pt x="4082910" y="862381"/>
                    </a:cubicBezTo>
                    <a:cubicBezTo>
                      <a:pt x="4012615" y="881908"/>
                      <a:pt x="3942511" y="900958"/>
                      <a:pt x="3871169" y="916579"/>
                    </a:cubicBezTo>
                    <a:cubicBezTo>
                      <a:pt x="3899839" y="898957"/>
                      <a:pt x="3925652" y="875240"/>
                      <a:pt x="3947750" y="849999"/>
                    </a:cubicBezTo>
                    <a:cubicBezTo>
                      <a:pt x="3957751" y="838569"/>
                      <a:pt x="3968419" y="825996"/>
                      <a:pt x="3978039" y="813518"/>
                    </a:cubicBezTo>
                    <a:cubicBezTo>
                      <a:pt x="3982707" y="807422"/>
                      <a:pt x="3986231" y="798659"/>
                      <a:pt x="3994041" y="797897"/>
                    </a:cubicBezTo>
                    <a:cubicBezTo>
                      <a:pt x="3998994" y="797421"/>
                      <a:pt x="4004043" y="797421"/>
                      <a:pt x="4008996" y="796754"/>
                    </a:cubicBezTo>
                    <a:cubicBezTo>
                      <a:pt x="4040238" y="792658"/>
                      <a:pt x="4066622" y="772846"/>
                      <a:pt x="4085577" y="748462"/>
                    </a:cubicBezTo>
                    <a:cubicBezTo>
                      <a:pt x="4105484" y="722840"/>
                      <a:pt x="4111008" y="691503"/>
                      <a:pt x="4112628" y="659975"/>
                    </a:cubicBezTo>
                    <a:cubicBezTo>
                      <a:pt x="4113866" y="635401"/>
                      <a:pt x="4113675" y="611588"/>
                      <a:pt x="4106913" y="587966"/>
                    </a:cubicBezTo>
                    <a:cubicBezTo>
                      <a:pt x="4105674" y="583489"/>
                      <a:pt x="4105198" y="563011"/>
                      <a:pt x="4100531" y="561296"/>
                    </a:cubicBezTo>
                    <a:cubicBezTo>
                      <a:pt x="4095959" y="559582"/>
                      <a:pt x="4087005" y="570726"/>
                      <a:pt x="4083195" y="574060"/>
                    </a:cubicBezTo>
                    <a:cubicBezTo>
                      <a:pt x="4065860" y="589395"/>
                      <a:pt x="4049000" y="605206"/>
                      <a:pt x="4031570" y="620446"/>
                    </a:cubicBezTo>
                    <a:cubicBezTo>
                      <a:pt x="4011472" y="638068"/>
                      <a:pt x="3992041" y="655213"/>
                      <a:pt x="3976706" y="677311"/>
                    </a:cubicBezTo>
                    <a:cubicBezTo>
                      <a:pt x="3958037" y="704171"/>
                      <a:pt x="3951179" y="741700"/>
                      <a:pt x="3960799" y="773418"/>
                    </a:cubicBezTo>
                    <a:cubicBezTo>
                      <a:pt x="3962514" y="779038"/>
                      <a:pt x="3973563" y="792754"/>
                      <a:pt x="3972991" y="797326"/>
                    </a:cubicBezTo>
                    <a:cubicBezTo>
                      <a:pt x="3972039" y="803993"/>
                      <a:pt x="3962514" y="814185"/>
                      <a:pt x="3958132" y="819043"/>
                    </a:cubicBezTo>
                    <a:cubicBezTo>
                      <a:pt x="3954703" y="822948"/>
                      <a:pt x="3947750" y="829901"/>
                      <a:pt x="3945845" y="832378"/>
                    </a:cubicBezTo>
                    <a:cubicBezTo>
                      <a:pt x="3932415" y="847903"/>
                      <a:pt x="3917270" y="862667"/>
                      <a:pt x="3901744" y="876002"/>
                    </a:cubicBezTo>
                    <a:cubicBezTo>
                      <a:pt x="3889457" y="886575"/>
                      <a:pt x="3874217" y="901339"/>
                      <a:pt x="3862120" y="908673"/>
                    </a:cubicBezTo>
                    <a:cubicBezTo>
                      <a:pt x="3848214" y="918103"/>
                      <a:pt x="3835260" y="924103"/>
                      <a:pt x="3818781" y="926675"/>
                    </a:cubicBezTo>
                    <a:cubicBezTo>
                      <a:pt x="3840689" y="906482"/>
                      <a:pt x="3858120" y="872287"/>
                      <a:pt x="3864978" y="843712"/>
                    </a:cubicBezTo>
                    <a:cubicBezTo>
                      <a:pt x="3866311" y="838093"/>
                      <a:pt x="3864692" y="827139"/>
                      <a:pt x="3867835" y="822567"/>
                    </a:cubicBezTo>
                    <a:cubicBezTo>
                      <a:pt x="3868311" y="821805"/>
                      <a:pt x="3870978" y="821614"/>
                      <a:pt x="3871836" y="820948"/>
                    </a:cubicBezTo>
                    <a:cubicBezTo>
                      <a:pt x="3875169" y="818471"/>
                      <a:pt x="3878408" y="815899"/>
                      <a:pt x="3881170" y="812756"/>
                    </a:cubicBezTo>
                    <a:cubicBezTo>
                      <a:pt x="3890886" y="801517"/>
                      <a:pt x="3896982" y="786277"/>
                      <a:pt x="3901173" y="772370"/>
                    </a:cubicBezTo>
                    <a:cubicBezTo>
                      <a:pt x="3918794" y="713887"/>
                      <a:pt x="3884599" y="656927"/>
                      <a:pt x="3841641" y="619684"/>
                    </a:cubicBezTo>
                    <a:cubicBezTo>
                      <a:pt x="3836022" y="614827"/>
                      <a:pt x="3829830" y="610255"/>
                      <a:pt x="3823925" y="605778"/>
                    </a:cubicBezTo>
                    <a:cubicBezTo>
                      <a:pt x="3821448" y="603873"/>
                      <a:pt x="3814305" y="595300"/>
                      <a:pt x="3810875" y="595967"/>
                    </a:cubicBezTo>
                    <a:cubicBezTo>
                      <a:pt x="3805065" y="597110"/>
                      <a:pt x="3801827" y="615874"/>
                      <a:pt x="3800208" y="621113"/>
                    </a:cubicBezTo>
                    <a:cubicBezTo>
                      <a:pt x="3790111" y="654260"/>
                      <a:pt x="3782872" y="688741"/>
                      <a:pt x="3783444" y="723602"/>
                    </a:cubicBezTo>
                    <a:cubicBezTo>
                      <a:pt x="3783824" y="747605"/>
                      <a:pt x="3790206" y="772084"/>
                      <a:pt x="3805827" y="790753"/>
                    </a:cubicBezTo>
                    <a:cubicBezTo>
                      <a:pt x="3812495" y="798754"/>
                      <a:pt x="3819353" y="805136"/>
                      <a:pt x="3827925" y="810946"/>
                    </a:cubicBezTo>
                    <a:cubicBezTo>
                      <a:pt x="3832212" y="813899"/>
                      <a:pt x="3836498" y="816090"/>
                      <a:pt x="3841260" y="818090"/>
                    </a:cubicBezTo>
                    <a:cubicBezTo>
                      <a:pt x="3843451" y="819043"/>
                      <a:pt x="3845737" y="820090"/>
                      <a:pt x="3848023" y="820852"/>
                    </a:cubicBezTo>
                    <a:cubicBezTo>
                      <a:pt x="3852500" y="822281"/>
                      <a:pt x="3854405" y="821233"/>
                      <a:pt x="3855833" y="825710"/>
                    </a:cubicBezTo>
                    <a:cubicBezTo>
                      <a:pt x="3857834" y="832092"/>
                      <a:pt x="3854119" y="843522"/>
                      <a:pt x="3852405" y="849713"/>
                    </a:cubicBezTo>
                    <a:cubicBezTo>
                      <a:pt x="3850023" y="858190"/>
                      <a:pt x="3846499" y="866572"/>
                      <a:pt x="3842689" y="874478"/>
                    </a:cubicBezTo>
                    <a:cubicBezTo>
                      <a:pt x="3835831" y="889051"/>
                      <a:pt x="3826401" y="904672"/>
                      <a:pt x="3815733" y="916674"/>
                    </a:cubicBezTo>
                    <a:cubicBezTo>
                      <a:pt x="3812590" y="920198"/>
                      <a:pt x="3807828" y="926294"/>
                      <a:pt x="3803637" y="928580"/>
                    </a:cubicBezTo>
                    <a:cubicBezTo>
                      <a:pt x="3797541" y="931914"/>
                      <a:pt x="3786968" y="931342"/>
                      <a:pt x="3780015" y="932104"/>
                    </a:cubicBezTo>
                    <a:cubicBezTo>
                      <a:pt x="3763536" y="933914"/>
                      <a:pt x="3747058" y="935724"/>
                      <a:pt x="3730675" y="937534"/>
                    </a:cubicBezTo>
                    <a:cubicBezTo>
                      <a:pt x="3680669" y="942868"/>
                      <a:pt x="3630091" y="946487"/>
                      <a:pt x="3579799" y="946963"/>
                    </a:cubicBezTo>
                    <a:cubicBezTo>
                      <a:pt x="3534365" y="947344"/>
                      <a:pt x="3489216" y="947059"/>
                      <a:pt x="3443782" y="944963"/>
                    </a:cubicBezTo>
                    <a:cubicBezTo>
                      <a:pt x="3398824" y="942963"/>
                      <a:pt x="3353771" y="936772"/>
                      <a:pt x="3309194" y="930390"/>
                    </a:cubicBezTo>
                    <a:cubicBezTo>
                      <a:pt x="3253377" y="922484"/>
                      <a:pt x="3198418" y="912864"/>
                      <a:pt x="3142221" y="908101"/>
                    </a:cubicBezTo>
                    <a:cubicBezTo>
                      <a:pt x="3092881" y="903910"/>
                      <a:pt x="3043827" y="897433"/>
                      <a:pt x="2994297" y="894481"/>
                    </a:cubicBezTo>
                    <a:cubicBezTo>
                      <a:pt x="2976390" y="893433"/>
                      <a:pt x="2958483" y="891718"/>
                      <a:pt x="2940576" y="890480"/>
                    </a:cubicBezTo>
                    <a:cubicBezTo>
                      <a:pt x="2967818" y="868763"/>
                      <a:pt x="2997726" y="849618"/>
                      <a:pt x="3026016" y="829139"/>
                    </a:cubicBezTo>
                    <a:cubicBezTo>
                      <a:pt x="3054876" y="808279"/>
                      <a:pt x="3086309" y="788277"/>
                      <a:pt x="3111550" y="762940"/>
                    </a:cubicBezTo>
                    <a:cubicBezTo>
                      <a:pt x="3110312" y="764179"/>
                      <a:pt x="3112312" y="762178"/>
                      <a:pt x="3112503" y="762083"/>
                    </a:cubicBezTo>
                    <a:cubicBezTo>
                      <a:pt x="3111645" y="762940"/>
                      <a:pt x="3116598" y="758273"/>
                      <a:pt x="3117741" y="757797"/>
                    </a:cubicBezTo>
                    <a:cubicBezTo>
                      <a:pt x="3120789" y="756654"/>
                      <a:pt x="3124123" y="757416"/>
                      <a:pt x="3127552" y="757892"/>
                    </a:cubicBezTo>
                    <a:cubicBezTo>
                      <a:pt x="3136220" y="758940"/>
                      <a:pt x="3144888" y="760083"/>
                      <a:pt x="3153650" y="760369"/>
                    </a:cubicBezTo>
                    <a:cubicBezTo>
                      <a:pt x="3164414" y="760654"/>
                      <a:pt x="3175272" y="760654"/>
                      <a:pt x="3185940" y="759321"/>
                    </a:cubicBezTo>
                    <a:cubicBezTo>
                      <a:pt x="3218325" y="755320"/>
                      <a:pt x="3251091" y="742176"/>
                      <a:pt x="3274713" y="719411"/>
                    </a:cubicBezTo>
                    <a:cubicBezTo>
                      <a:pt x="3290620" y="704076"/>
                      <a:pt x="3303479" y="682264"/>
                      <a:pt x="3313290" y="662642"/>
                    </a:cubicBezTo>
                    <a:cubicBezTo>
                      <a:pt x="3326624" y="636258"/>
                      <a:pt x="3336721" y="607873"/>
                      <a:pt x="3339483" y="578346"/>
                    </a:cubicBezTo>
                    <a:cubicBezTo>
                      <a:pt x="3339769" y="575679"/>
                      <a:pt x="3340341" y="572917"/>
                      <a:pt x="3340245" y="570345"/>
                    </a:cubicBezTo>
                    <a:cubicBezTo>
                      <a:pt x="3340055" y="562534"/>
                      <a:pt x="3336245" y="563582"/>
                      <a:pt x="3329577" y="565297"/>
                    </a:cubicBezTo>
                    <a:cubicBezTo>
                      <a:pt x="3322815" y="567011"/>
                      <a:pt x="3315861" y="568345"/>
                      <a:pt x="3309003" y="569773"/>
                    </a:cubicBezTo>
                    <a:cubicBezTo>
                      <a:pt x="3279095" y="576155"/>
                      <a:pt x="3249472" y="585299"/>
                      <a:pt x="3221849" y="598539"/>
                    </a:cubicBezTo>
                    <a:cubicBezTo>
                      <a:pt x="3167843" y="624542"/>
                      <a:pt x="3120027" y="673120"/>
                      <a:pt x="3107264" y="733318"/>
                    </a:cubicBezTo>
                    <a:cubicBezTo>
                      <a:pt x="3105835" y="739890"/>
                      <a:pt x="3109264" y="749224"/>
                      <a:pt x="3107454" y="754558"/>
                    </a:cubicBezTo>
                    <a:cubicBezTo>
                      <a:pt x="3105645" y="759797"/>
                      <a:pt x="3096691" y="766369"/>
                      <a:pt x="3092691" y="769989"/>
                    </a:cubicBezTo>
                    <a:cubicBezTo>
                      <a:pt x="3078117" y="783133"/>
                      <a:pt x="3062877" y="795230"/>
                      <a:pt x="3046494" y="806089"/>
                    </a:cubicBezTo>
                    <a:cubicBezTo>
                      <a:pt x="3014490" y="827329"/>
                      <a:pt x="2983058" y="849332"/>
                      <a:pt x="2951816" y="871621"/>
                    </a:cubicBezTo>
                    <a:cubicBezTo>
                      <a:pt x="2966580" y="852190"/>
                      <a:pt x="2977438" y="831139"/>
                      <a:pt x="2984201" y="807613"/>
                    </a:cubicBezTo>
                    <a:cubicBezTo>
                      <a:pt x="2986201" y="800850"/>
                      <a:pt x="2985725" y="796945"/>
                      <a:pt x="2990964" y="792087"/>
                    </a:cubicBezTo>
                    <a:cubicBezTo>
                      <a:pt x="2996107" y="787324"/>
                      <a:pt x="3000489" y="782086"/>
                      <a:pt x="3004870" y="776656"/>
                    </a:cubicBezTo>
                    <a:cubicBezTo>
                      <a:pt x="3013252" y="766179"/>
                      <a:pt x="3020300" y="755511"/>
                      <a:pt x="3024396" y="742557"/>
                    </a:cubicBezTo>
                    <a:cubicBezTo>
                      <a:pt x="3037541" y="701123"/>
                      <a:pt x="3029254" y="655308"/>
                      <a:pt x="3012299" y="616351"/>
                    </a:cubicBezTo>
                    <a:cubicBezTo>
                      <a:pt x="3002489" y="593967"/>
                      <a:pt x="2988487" y="577965"/>
                      <a:pt x="2971247" y="561106"/>
                    </a:cubicBezTo>
                    <a:cubicBezTo>
                      <a:pt x="2966294" y="556248"/>
                      <a:pt x="2963150" y="549104"/>
                      <a:pt x="2957626" y="556629"/>
                    </a:cubicBezTo>
                    <a:cubicBezTo>
                      <a:pt x="2951340" y="565201"/>
                      <a:pt x="2947434" y="576727"/>
                      <a:pt x="2943053" y="586252"/>
                    </a:cubicBezTo>
                    <a:cubicBezTo>
                      <a:pt x="2929718" y="615684"/>
                      <a:pt x="2919240" y="644830"/>
                      <a:pt x="2917621" y="677501"/>
                    </a:cubicBezTo>
                    <a:cubicBezTo>
                      <a:pt x="2915525" y="718363"/>
                      <a:pt x="2930480" y="752272"/>
                      <a:pt x="2959531" y="779990"/>
                    </a:cubicBezTo>
                    <a:cubicBezTo>
                      <a:pt x="2962674" y="782943"/>
                      <a:pt x="2965437" y="786372"/>
                      <a:pt x="2969056" y="788848"/>
                    </a:cubicBezTo>
                    <a:cubicBezTo>
                      <a:pt x="2971247" y="790372"/>
                      <a:pt x="2976581" y="791611"/>
                      <a:pt x="2977724" y="793992"/>
                    </a:cubicBezTo>
                    <a:cubicBezTo>
                      <a:pt x="2979248" y="797135"/>
                      <a:pt x="2975533" y="806755"/>
                      <a:pt x="2974581" y="810280"/>
                    </a:cubicBezTo>
                    <a:cubicBezTo>
                      <a:pt x="2972580" y="817709"/>
                      <a:pt x="2969628" y="824567"/>
                      <a:pt x="2966199" y="831425"/>
                    </a:cubicBezTo>
                    <a:cubicBezTo>
                      <a:pt x="2960483" y="842950"/>
                      <a:pt x="2954102" y="853618"/>
                      <a:pt x="2946482" y="864001"/>
                    </a:cubicBezTo>
                    <a:cubicBezTo>
                      <a:pt x="2942196" y="869811"/>
                      <a:pt x="2937624" y="875621"/>
                      <a:pt x="2932861" y="881146"/>
                    </a:cubicBezTo>
                    <a:cubicBezTo>
                      <a:pt x="2931147" y="883051"/>
                      <a:pt x="2927622" y="888385"/>
                      <a:pt x="2925146" y="889337"/>
                    </a:cubicBezTo>
                    <a:cubicBezTo>
                      <a:pt x="2922098" y="890480"/>
                      <a:pt x="2915525" y="888956"/>
                      <a:pt x="2912192" y="888861"/>
                    </a:cubicBezTo>
                    <a:cubicBezTo>
                      <a:pt x="2823800" y="886384"/>
                      <a:pt x="2734550" y="893242"/>
                      <a:pt x="2647111" y="905815"/>
                    </a:cubicBezTo>
                    <a:cubicBezTo>
                      <a:pt x="2555576" y="918960"/>
                      <a:pt x="2464898" y="935629"/>
                      <a:pt x="2375268" y="958489"/>
                    </a:cubicBezTo>
                    <a:cubicBezTo>
                      <a:pt x="2374315" y="938677"/>
                      <a:pt x="2377268" y="915340"/>
                      <a:pt x="2383554" y="896862"/>
                    </a:cubicBezTo>
                    <a:cubicBezTo>
                      <a:pt x="2395365" y="860953"/>
                      <a:pt x="2405462" y="823710"/>
                      <a:pt x="2427179" y="792277"/>
                    </a:cubicBezTo>
                    <a:cubicBezTo>
                      <a:pt x="2430132" y="787610"/>
                      <a:pt x="2435275" y="777514"/>
                      <a:pt x="2439942" y="774751"/>
                    </a:cubicBezTo>
                    <a:cubicBezTo>
                      <a:pt x="2444800" y="771894"/>
                      <a:pt x="2455944" y="772275"/>
                      <a:pt x="2461469" y="771799"/>
                    </a:cubicBezTo>
                    <a:cubicBezTo>
                      <a:pt x="2474042" y="770656"/>
                      <a:pt x="2485758" y="768274"/>
                      <a:pt x="2497949" y="764941"/>
                    </a:cubicBezTo>
                    <a:cubicBezTo>
                      <a:pt x="2517857" y="759511"/>
                      <a:pt x="2537097" y="750939"/>
                      <a:pt x="2554052" y="739033"/>
                    </a:cubicBezTo>
                    <a:cubicBezTo>
                      <a:pt x="2607582" y="701218"/>
                      <a:pt x="2622060" y="635210"/>
                      <a:pt x="2622156" y="573393"/>
                    </a:cubicBezTo>
                    <a:cubicBezTo>
                      <a:pt x="2622156" y="566344"/>
                      <a:pt x="2628347" y="544723"/>
                      <a:pt x="2619393" y="543961"/>
                    </a:cubicBezTo>
                    <a:cubicBezTo>
                      <a:pt x="2615679" y="543580"/>
                      <a:pt x="2608154" y="548533"/>
                      <a:pt x="2604630" y="550057"/>
                    </a:cubicBezTo>
                    <a:cubicBezTo>
                      <a:pt x="2599867" y="552152"/>
                      <a:pt x="2595200" y="554248"/>
                      <a:pt x="2590533" y="556438"/>
                    </a:cubicBezTo>
                    <a:cubicBezTo>
                      <a:pt x="2566244" y="567773"/>
                      <a:pt x="2541288" y="578251"/>
                      <a:pt x="2518905" y="593300"/>
                    </a:cubicBezTo>
                    <a:cubicBezTo>
                      <a:pt x="2474042" y="623685"/>
                      <a:pt x="2442419" y="667595"/>
                      <a:pt x="2433465" y="721792"/>
                    </a:cubicBezTo>
                    <a:cubicBezTo>
                      <a:pt x="2431560" y="733603"/>
                      <a:pt x="2429465" y="747986"/>
                      <a:pt x="2431179" y="759988"/>
                    </a:cubicBezTo>
                    <a:cubicBezTo>
                      <a:pt x="2431465" y="762274"/>
                      <a:pt x="2433561" y="765607"/>
                      <a:pt x="2433370" y="767608"/>
                    </a:cubicBezTo>
                    <a:cubicBezTo>
                      <a:pt x="2433180" y="770084"/>
                      <a:pt x="2427846" y="774561"/>
                      <a:pt x="2426226" y="776656"/>
                    </a:cubicBezTo>
                    <a:cubicBezTo>
                      <a:pt x="2421083" y="783324"/>
                      <a:pt x="2416320" y="790087"/>
                      <a:pt x="2411939" y="797230"/>
                    </a:cubicBezTo>
                    <a:cubicBezTo>
                      <a:pt x="2394222" y="826377"/>
                      <a:pt x="2381459" y="860667"/>
                      <a:pt x="2374315" y="895433"/>
                    </a:cubicBezTo>
                    <a:cubicBezTo>
                      <a:pt x="2368600" y="876764"/>
                      <a:pt x="2359932" y="858095"/>
                      <a:pt x="2350884" y="840760"/>
                    </a:cubicBezTo>
                    <a:cubicBezTo>
                      <a:pt x="2346312" y="831997"/>
                      <a:pt x="2341454" y="823424"/>
                      <a:pt x="2336310" y="814947"/>
                    </a:cubicBezTo>
                    <a:cubicBezTo>
                      <a:pt x="2334024" y="811137"/>
                      <a:pt x="2330881" y="807613"/>
                      <a:pt x="2328786" y="803803"/>
                    </a:cubicBezTo>
                    <a:cubicBezTo>
                      <a:pt x="2326309" y="799421"/>
                      <a:pt x="2327452" y="797516"/>
                      <a:pt x="2328500" y="792277"/>
                    </a:cubicBezTo>
                    <a:cubicBezTo>
                      <a:pt x="2336120" y="754939"/>
                      <a:pt x="2328119" y="719221"/>
                      <a:pt x="2305259" y="688455"/>
                    </a:cubicBezTo>
                    <a:cubicBezTo>
                      <a:pt x="2285828" y="662356"/>
                      <a:pt x="2259253" y="640354"/>
                      <a:pt x="2230869" y="624923"/>
                    </a:cubicBezTo>
                    <a:cubicBezTo>
                      <a:pt x="2221439" y="619780"/>
                      <a:pt x="2211914" y="615017"/>
                      <a:pt x="2202294" y="610350"/>
                    </a:cubicBezTo>
                    <a:cubicBezTo>
                      <a:pt x="2196388" y="607397"/>
                      <a:pt x="2190483" y="604349"/>
                      <a:pt x="2184577" y="601396"/>
                    </a:cubicBezTo>
                    <a:cubicBezTo>
                      <a:pt x="2179434" y="598825"/>
                      <a:pt x="2174290" y="593395"/>
                      <a:pt x="2168766" y="592252"/>
                    </a:cubicBezTo>
                    <a:cubicBezTo>
                      <a:pt x="2159812" y="590443"/>
                      <a:pt x="2163241" y="605968"/>
                      <a:pt x="2163813" y="612160"/>
                    </a:cubicBezTo>
                    <a:cubicBezTo>
                      <a:pt x="2165146" y="625876"/>
                      <a:pt x="2166956" y="639496"/>
                      <a:pt x="2169337" y="653022"/>
                    </a:cubicBezTo>
                    <a:cubicBezTo>
                      <a:pt x="2173719" y="678549"/>
                      <a:pt x="2179719" y="704457"/>
                      <a:pt x="2188292" y="728936"/>
                    </a:cubicBezTo>
                    <a:cubicBezTo>
                      <a:pt x="2201532" y="766369"/>
                      <a:pt x="2225439" y="795135"/>
                      <a:pt x="2263635" y="807708"/>
                    </a:cubicBezTo>
                    <a:cubicBezTo>
                      <a:pt x="2274969" y="811423"/>
                      <a:pt x="2286780" y="811708"/>
                      <a:pt x="2298591" y="810851"/>
                    </a:cubicBezTo>
                    <a:cubicBezTo>
                      <a:pt x="2304687" y="810375"/>
                      <a:pt x="2313831" y="805898"/>
                      <a:pt x="2319642" y="808565"/>
                    </a:cubicBezTo>
                    <a:cubicBezTo>
                      <a:pt x="2325833" y="811423"/>
                      <a:pt x="2333167" y="825805"/>
                      <a:pt x="2336787" y="831520"/>
                    </a:cubicBezTo>
                    <a:cubicBezTo>
                      <a:pt x="2355075" y="860476"/>
                      <a:pt x="2366695" y="890861"/>
                      <a:pt x="2366028" y="925437"/>
                    </a:cubicBezTo>
                    <a:cubicBezTo>
                      <a:pt x="2365838" y="935057"/>
                      <a:pt x="2364885" y="944392"/>
                      <a:pt x="2364028" y="954012"/>
                    </a:cubicBezTo>
                    <a:cubicBezTo>
                      <a:pt x="2363933" y="955345"/>
                      <a:pt x="2364123" y="960394"/>
                      <a:pt x="2363361" y="961537"/>
                    </a:cubicBezTo>
                    <a:cubicBezTo>
                      <a:pt x="2361742" y="963918"/>
                      <a:pt x="2347169" y="966204"/>
                      <a:pt x="2344407" y="967061"/>
                    </a:cubicBezTo>
                    <a:cubicBezTo>
                      <a:pt x="2330786" y="971252"/>
                      <a:pt x="2317260" y="975824"/>
                      <a:pt x="2303830" y="980396"/>
                    </a:cubicBezTo>
                    <a:cubicBezTo>
                      <a:pt x="2275731" y="989921"/>
                      <a:pt x="2247442" y="998970"/>
                      <a:pt x="2220201" y="1010876"/>
                    </a:cubicBezTo>
                    <a:cubicBezTo>
                      <a:pt x="2194102" y="1022211"/>
                      <a:pt x="2168670" y="1035165"/>
                      <a:pt x="2142762" y="1047071"/>
                    </a:cubicBezTo>
                    <a:cubicBezTo>
                      <a:pt x="2063610" y="1083266"/>
                      <a:pt x="1988552" y="1126414"/>
                      <a:pt x="1920163" y="1180612"/>
                    </a:cubicBezTo>
                    <a:cubicBezTo>
                      <a:pt x="1888540" y="1205662"/>
                      <a:pt x="1857965" y="1232428"/>
                      <a:pt x="1827294" y="1258812"/>
                    </a:cubicBezTo>
                    <a:cubicBezTo>
                      <a:pt x="1730616" y="1342156"/>
                      <a:pt x="1650034" y="1441406"/>
                      <a:pt x="1564214" y="1535608"/>
                    </a:cubicBezTo>
                    <a:cubicBezTo>
                      <a:pt x="1554022" y="1546848"/>
                      <a:pt x="1543926" y="1558087"/>
                      <a:pt x="1533829" y="1569517"/>
                    </a:cubicBezTo>
                    <a:cubicBezTo>
                      <a:pt x="1533448" y="1535132"/>
                      <a:pt x="1537639" y="1499413"/>
                      <a:pt x="1544402" y="1465695"/>
                    </a:cubicBezTo>
                    <a:cubicBezTo>
                      <a:pt x="1546783" y="1451312"/>
                      <a:pt x="1552403" y="1430167"/>
                      <a:pt x="1555641" y="1415689"/>
                    </a:cubicBezTo>
                    <a:cubicBezTo>
                      <a:pt x="1559261" y="1399877"/>
                      <a:pt x="1562309" y="1383208"/>
                      <a:pt x="1570786" y="1369207"/>
                    </a:cubicBezTo>
                    <a:cubicBezTo>
                      <a:pt x="1590312" y="1336726"/>
                      <a:pt x="1615172" y="1306342"/>
                      <a:pt x="1640795" y="1279481"/>
                    </a:cubicBezTo>
                    <a:cubicBezTo>
                      <a:pt x="1646796" y="1273290"/>
                      <a:pt x="1653082" y="1267384"/>
                      <a:pt x="1659368" y="1261574"/>
                    </a:cubicBezTo>
                    <a:cubicBezTo>
                      <a:pt x="1663750" y="1257478"/>
                      <a:pt x="1673370" y="1245382"/>
                      <a:pt x="1679181" y="1244429"/>
                    </a:cubicBezTo>
                    <a:cubicBezTo>
                      <a:pt x="1681276" y="1244048"/>
                      <a:pt x="1684419" y="1245572"/>
                      <a:pt x="1686515" y="1245858"/>
                    </a:cubicBezTo>
                    <a:cubicBezTo>
                      <a:pt x="1691182" y="1246525"/>
                      <a:pt x="1695945" y="1246525"/>
                      <a:pt x="1700612" y="1246525"/>
                    </a:cubicBezTo>
                    <a:cubicBezTo>
                      <a:pt x="1710708" y="1246525"/>
                      <a:pt x="1721091" y="1246620"/>
                      <a:pt x="1731187" y="1245667"/>
                    </a:cubicBezTo>
                    <a:cubicBezTo>
                      <a:pt x="1763572" y="1242619"/>
                      <a:pt x="1794528" y="1224046"/>
                      <a:pt x="1817293" y="1201376"/>
                    </a:cubicBezTo>
                    <a:cubicBezTo>
                      <a:pt x="1840820" y="1177849"/>
                      <a:pt x="1857489" y="1150989"/>
                      <a:pt x="1869681" y="1120223"/>
                    </a:cubicBezTo>
                    <a:cubicBezTo>
                      <a:pt x="1875872" y="1104412"/>
                      <a:pt x="1882254" y="1088695"/>
                      <a:pt x="1888254" y="1072884"/>
                    </a:cubicBezTo>
                    <a:cubicBezTo>
                      <a:pt x="1889588" y="1069455"/>
                      <a:pt x="1903399" y="1044118"/>
                      <a:pt x="1898256" y="1041547"/>
                    </a:cubicBezTo>
                    <a:cubicBezTo>
                      <a:pt x="1895303" y="1040118"/>
                      <a:pt x="1888731" y="1043737"/>
                      <a:pt x="1886064" y="1044499"/>
                    </a:cubicBezTo>
                    <a:cubicBezTo>
                      <a:pt x="1877205" y="1047071"/>
                      <a:pt x="1868156" y="1049262"/>
                      <a:pt x="1859298" y="1051834"/>
                    </a:cubicBezTo>
                    <a:cubicBezTo>
                      <a:pt x="1841868" y="1056882"/>
                      <a:pt x="1824532" y="1062692"/>
                      <a:pt x="1807863" y="1069741"/>
                    </a:cubicBezTo>
                    <a:cubicBezTo>
                      <a:pt x="1774907" y="1083742"/>
                      <a:pt x="1742617" y="1104507"/>
                      <a:pt x="1718423" y="1131272"/>
                    </a:cubicBezTo>
                    <a:cubicBezTo>
                      <a:pt x="1705089" y="1146036"/>
                      <a:pt x="1694421" y="1163371"/>
                      <a:pt x="1686420" y="1181564"/>
                    </a:cubicBezTo>
                    <a:cubicBezTo>
                      <a:pt x="1682133" y="1191280"/>
                      <a:pt x="1678800" y="1201186"/>
                      <a:pt x="1676228" y="1211473"/>
                    </a:cubicBezTo>
                    <a:cubicBezTo>
                      <a:pt x="1675180" y="1215759"/>
                      <a:pt x="1674132" y="1220140"/>
                      <a:pt x="1673561" y="1224522"/>
                    </a:cubicBezTo>
                    <a:cubicBezTo>
                      <a:pt x="1673085" y="1227760"/>
                      <a:pt x="1673751" y="1232713"/>
                      <a:pt x="1672418" y="1235190"/>
                    </a:cubicBezTo>
                    <a:cubicBezTo>
                      <a:pt x="1670608" y="1238619"/>
                      <a:pt x="1664036" y="1241953"/>
                      <a:pt x="1660893" y="1244524"/>
                    </a:cubicBezTo>
                    <a:cubicBezTo>
                      <a:pt x="1656035" y="1248620"/>
                      <a:pt x="1651368" y="1252811"/>
                      <a:pt x="1646510" y="1257002"/>
                    </a:cubicBezTo>
                    <a:cubicBezTo>
                      <a:pt x="1638604" y="1263860"/>
                      <a:pt x="1630508" y="1270432"/>
                      <a:pt x="1622888" y="1277576"/>
                    </a:cubicBezTo>
                    <a:cubicBezTo>
                      <a:pt x="1607172" y="1292245"/>
                      <a:pt x="1593360" y="1309199"/>
                      <a:pt x="1579739" y="1325773"/>
                    </a:cubicBezTo>
                    <a:cubicBezTo>
                      <a:pt x="1596504" y="1278243"/>
                      <a:pt x="1615839" y="1231666"/>
                      <a:pt x="1635461" y="1185279"/>
                    </a:cubicBezTo>
                    <a:cubicBezTo>
                      <a:pt x="1645462" y="1161752"/>
                      <a:pt x="1657273" y="1138511"/>
                      <a:pt x="1665179" y="1114127"/>
                    </a:cubicBezTo>
                    <a:cubicBezTo>
                      <a:pt x="1671942" y="1093172"/>
                      <a:pt x="1675371" y="1071741"/>
                      <a:pt x="1679371" y="1050976"/>
                    </a:cubicBezTo>
                    <a:cubicBezTo>
                      <a:pt x="1680705" y="1044214"/>
                      <a:pt x="1680228" y="1043452"/>
                      <a:pt x="1685848" y="1040404"/>
                    </a:cubicBezTo>
                    <a:cubicBezTo>
                      <a:pt x="1688706" y="1038880"/>
                      <a:pt x="1691563" y="1037356"/>
                      <a:pt x="1694516" y="1035927"/>
                    </a:cubicBezTo>
                    <a:cubicBezTo>
                      <a:pt x="1702041" y="1032117"/>
                      <a:pt x="1709565" y="1028307"/>
                      <a:pt x="1717185" y="1024687"/>
                    </a:cubicBezTo>
                    <a:cubicBezTo>
                      <a:pt x="1735473" y="1015924"/>
                      <a:pt x="1753952" y="1003447"/>
                      <a:pt x="1767763" y="988683"/>
                    </a:cubicBezTo>
                    <a:cubicBezTo>
                      <a:pt x="1802148" y="951916"/>
                      <a:pt x="1811102" y="905244"/>
                      <a:pt x="1803291" y="856571"/>
                    </a:cubicBezTo>
                    <a:cubicBezTo>
                      <a:pt x="1798814" y="828853"/>
                      <a:pt x="1788051" y="801898"/>
                      <a:pt x="1777002" y="776275"/>
                    </a:cubicBezTo>
                    <a:cubicBezTo>
                      <a:pt x="1775383" y="772465"/>
                      <a:pt x="1772049" y="761607"/>
                      <a:pt x="1767096" y="761035"/>
                    </a:cubicBezTo>
                    <a:cubicBezTo>
                      <a:pt x="1763191" y="760654"/>
                      <a:pt x="1757381" y="769798"/>
                      <a:pt x="1755381" y="772084"/>
                    </a:cubicBezTo>
                    <a:cubicBezTo>
                      <a:pt x="1745951" y="782657"/>
                      <a:pt x="1736521" y="793230"/>
                      <a:pt x="1727568" y="804279"/>
                    </a:cubicBezTo>
                    <a:cubicBezTo>
                      <a:pt x="1677276" y="866287"/>
                      <a:pt x="1636318" y="948964"/>
                      <a:pt x="1664131" y="1029640"/>
                    </a:cubicBezTo>
                    <a:cubicBezTo>
                      <a:pt x="1665369" y="1033165"/>
                      <a:pt x="1666798" y="1036308"/>
                      <a:pt x="1668703" y="1039451"/>
                    </a:cubicBezTo>
                    <a:cubicBezTo>
                      <a:pt x="1671465" y="1043928"/>
                      <a:pt x="1672132" y="1043356"/>
                      <a:pt x="1672608" y="1048214"/>
                    </a:cubicBezTo>
                    <a:cubicBezTo>
                      <a:pt x="1673656" y="1059454"/>
                      <a:pt x="1667751" y="1072789"/>
                      <a:pt x="1664607" y="1084028"/>
                    </a:cubicBezTo>
                    <a:cubicBezTo>
                      <a:pt x="1657273" y="1110603"/>
                      <a:pt x="1647558" y="1136416"/>
                      <a:pt x="1635556" y="1161181"/>
                    </a:cubicBezTo>
                    <a:cubicBezTo>
                      <a:pt x="1610410" y="1213187"/>
                      <a:pt x="1583073" y="1265289"/>
                      <a:pt x="1566405" y="1320724"/>
                    </a:cubicBezTo>
                    <a:cubicBezTo>
                      <a:pt x="1564881" y="1308723"/>
                      <a:pt x="1562499" y="1296912"/>
                      <a:pt x="1560309" y="1285006"/>
                    </a:cubicBezTo>
                    <a:cubicBezTo>
                      <a:pt x="1558404" y="1274909"/>
                      <a:pt x="1552308" y="1261288"/>
                      <a:pt x="1555546" y="1251763"/>
                    </a:cubicBezTo>
                    <a:cubicBezTo>
                      <a:pt x="1559070" y="1241381"/>
                      <a:pt x="1564309" y="1231856"/>
                      <a:pt x="1567167" y="1221188"/>
                    </a:cubicBezTo>
                    <a:cubicBezTo>
                      <a:pt x="1570214" y="1209568"/>
                      <a:pt x="1572120" y="1197471"/>
                      <a:pt x="1573358" y="1185565"/>
                    </a:cubicBezTo>
                    <a:cubicBezTo>
                      <a:pt x="1577644" y="1144512"/>
                      <a:pt x="1571072" y="1101649"/>
                      <a:pt x="1545354" y="1068026"/>
                    </a:cubicBezTo>
                    <a:cubicBezTo>
                      <a:pt x="1525352" y="1041737"/>
                      <a:pt x="1497063" y="1016496"/>
                      <a:pt x="1466202" y="1004685"/>
                    </a:cubicBezTo>
                    <a:cubicBezTo>
                      <a:pt x="1457534" y="1001351"/>
                      <a:pt x="1448866" y="997827"/>
                      <a:pt x="1440103" y="994779"/>
                    </a:cubicBezTo>
                    <a:cubicBezTo>
                      <a:pt x="1431531" y="991921"/>
                      <a:pt x="1430959" y="996017"/>
                      <a:pt x="1430102" y="1004399"/>
                    </a:cubicBezTo>
                    <a:cubicBezTo>
                      <a:pt x="1428102" y="1023830"/>
                      <a:pt x="1426006" y="1043166"/>
                      <a:pt x="1424672" y="1062597"/>
                    </a:cubicBezTo>
                    <a:cubicBezTo>
                      <a:pt x="1421625" y="1106793"/>
                      <a:pt x="1427054" y="1147941"/>
                      <a:pt x="1445532" y="1188422"/>
                    </a:cubicBezTo>
                    <a:cubicBezTo>
                      <a:pt x="1460296" y="1220807"/>
                      <a:pt x="1487728" y="1255097"/>
                      <a:pt x="1524018" y="1263098"/>
                    </a:cubicBezTo>
                    <a:cubicBezTo>
                      <a:pt x="1529447" y="1264336"/>
                      <a:pt x="1534686" y="1265384"/>
                      <a:pt x="1540306" y="1265003"/>
                    </a:cubicBezTo>
                    <a:cubicBezTo>
                      <a:pt x="1546593" y="1264622"/>
                      <a:pt x="1545926" y="1263098"/>
                      <a:pt x="1548497" y="1268527"/>
                    </a:cubicBezTo>
                    <a:cubicBezTo>
                      <a:pt x="1551164" y="1274338"/>
                      <a:pt x="1552117" y="1281958"/>
                      <a:pt x="1553736" y="1288149"/>
                    </a:cubicBezTo>
                    <a:cubicBezTo>
                      <a:pt x="1556784" y="1300341"/>
                      <a:pt x="1558308" y="1312723"/>
                      <a:pt x="1558975" y="1325296"/>
                    </a:cubicBezTo>
                    <a:cubicBezTo>
                      <a:pt x="1559166" y="1330154"/>
                      <a:pt x="1559642" y="1335964"/>
                      <a:pt x="1558975" y="1341013"/>
                    </a:cubicBezTo>
                    <a:cubicBezTo>
                      <a:pt x="1558118" y="1347394"/>
                      <a:pt x="1555165" y="1353871"/>
                      <a:pt x="1553165" y="1359967"/>
                    </a:cubicBezTo>
                    <a:cubicBezTo>
                      <a:pt x="1537544" y="1407497"/>
                      <a:pt x="1527733" y="1456456"/>
                      <a:pt x="1518684" y="1505605"/>
                    </a:cubicBezTo>
                    <a:cubicBezTo>
                      <a:pt x="1513922" y="1531417"/>
                      <a:pt x="1512493" y="1557802"/>
                      <a:pt x="1510683" y="1583900"/>
                    </a:cubicBezTo>
                    <a:cubicBezTo>
                      <a:pt x="1510207" y="1590187"/>
                      <a:pt x="1510779" y="1594854"/>
                      <a:pt x="1507445" y="1599807"/>
                    </a:cubicBezTo>
                    <a:cubicBezTo>
                      <a:pt x="1504206" y="1604665"/>
                      <a:pt x="1499539" y="1609046"/>
                      <a:pt x="1495729" y="1613428"/>
                    </a:cubicBezTo>
                    <a:cubicBezTo>
                      <a:pt x="1491157" y="1618762"/>
                      <a:pt x="1486680" y="1624191"/>
                      <a:pt x="1482108" y="1629620"/>
                    </a:cubicBezTo>
                    <a:cubicBezTo>
                      <a:pt x="1466392" y="1648480"/>
                      <a:pt x="1450581" y="1667244"/>
                      <a:pt x="1434674" y="1686008"/>
                    </a:cubicBezTo>
                    <a:cubicBezTo>
                      <a:pt x="1396193" y="1731252"/>
                      <a:pt x="1357235" y="1775924"/>
                      <a:pt x="1321136" y="1823263"/>
                    </a:cubicBezTo>
                    <a:cubicBezTo>
                      <a:pt x="1292656" y="1860601"/>
                      <a:pt x="1264081" y="1897749"/>
                      <a:pt x="1234744" y="1934420"/>
                    </a:cubicBezTo>
                    <a:cubicBezTo>
                      <a:pt x="1223409" y="1948612"/>
                      <a:pt x="1212360" y="1963090"/>
                      <a:pt x="1198359" y="1974806"/>
                    </a:cubicBezTo>
                    <a:cubicBezTo>
                      <a:pt x="1184547" y="1986331"/>
                      <a:pt x="1168069" y="1995475"/>
                      <a:pt x="1150067" y="1998047"/>
                    </a:cubicBezTo>
                    <a:cubicBezTo>
                      <a:pt x="1133779" y="2000333"/>
                      <a:pt x="1119111" y="1990713"/>
                      <a:pt x="1107681" y="1979664"/>
                    </a:cubicBezTo>
                    <a:cubicBezTo>
                      <a:pt x="1099965" y="1972234"/>
                      <a:pt x="1091488" y="1964805"/>
                      <a:pt x="1086059" y="1955566"/>
                    </a:cubicBezTo>
                    <a:cubicBezTo>
                      <a:pt x="1077296" y="1940421"/>
                      <a:pt x="1071390" y="1924514"/>
                      <a:pt x="1065390" y="1908036"/>
                    </a:cubicBezTo>
                    <a:cubicBezTo>
                      <a:pt x="1056246" y="1882795"/>
                      <a:pt x="1051578" y="1855267"/>
                      <a:pt x="1047959" y="1828693"/>
                    </a:cubicBezTo>
                    <a:cubicBezTo>
                      <a:pt x="1044149" y="1801070"/>
                      <a:pt x="1040624" y="1773162"/>
                      <a:pt x="1039577" y="1745254"/>
                    </a:cubicBezTo>
                    <a:cubicBezTo>
                      <a:pt x="1039101" y="1732204"/>
                      <a:pt x="1038624" y="1719155"/>
                      <a:pt x="1038243" y="1706201"/>
                    </a:cubicBezTo>
                    <a:cubicBezTo>
                      <a:pt x="1037862" y="1695057"/>
                      <a:pt x="1035957" y="1682389"/>
                      <a:pt x="1037005" y="1671340"/>
                    </a:cubicBezTo>
                    <a:cubicBezTo>
                      <a:pt x="1037957" y="1661815"/>
                      <a:pt x="1043768" y="1650766"/>
                      <a:pt x="1047101" y="1641717"/>
                    </a:cubicBezTo>
                    <a:cubicBezTo>
                      <a:pt x="1051102" y="1630954"/>
                      <a:pt x="1055484" y="1624286"/>
                      <a:pt x="1061389" y="1613904"/>
                    </a:cubicBezTo>
                    <a:cubicBezTo>
                      <a:pt x="1079582" y="1583614"/>
                      <a:pt x="1105871" y="1553134"/>
                      <a:pt x="1132922" y="1527226"/>
                    </a:cubicBezTo>
                    <a:cubicBezTo>
                      <a:pt x="1146828" y="1513891"/>
                      <a:pt x="1162830" y="1501985"/>
                      <a:pt x="1179785" y="1492841"/>
                    </a:cubicBezTo>
                    <a:cubicBezTo>
                      <a:pt x="1192072" y="1486269"/>
                      <a:pt x="1205502" y="1477506"/>
                      <a:pt x="1219885" y="1480649"/>
                    </a:cubicBezTo>
                    <a:cubicBezTo>
                      <a:pt x="1242459" y="1485412"/>
                      <a:pt x="1269034" y="1491412"/>
                      <a:pt x="1291799" y="1485507"/>
                    </a:cubicBezTo>
                    <a:cubicBezTo>
                      <a:pt x="1323898" y="1477220"/>
                      <a:pt x="1348568" y="1460361"/>
                      <a:pt x="1367808" y="1433500"/>
                    </a:cubicBezTo>
                    <a:cubicBezTo>
                      <a:pt x="1388287" y="1404925"/>
                      <a:pt x="1402098" y="1371683"/>
                      <a:pt x="1415814" y="1339393"/>
                    </a:cubicBezTo>
                    <a:cubicBezTo>
                      <a:pt x="1420863" y="1327582"/>
                      <a:pt x="1424672" y="1313962"/>
                      <a:pt x="1427530" y="1301484"/>
                    </a:cubicBezTo>
                    <a:cubicBezTo>
                      <a:pt x="1429054" y="1295102"/>
                      <a:pt x="1427721" y="1295388"/>
                      <a:pt x="1422387" y="1296912"/>
                    </a:cubicBezTo>
                    <a:cubicBezTo>
                      <a:pt x="1416291" y="1298722"/>
                      <a:pt x="1409718" y="1302055"/>
                      <a:pt x="1403241" y="1303960"/>
                    </a:cubicBezTo>
                    <a:cubicBezTo>
                      <a:pt x="1336662" y="1323868"/>
                      <a:pt x="1263986" y="1340441"/>
                      <a:pt x="1223409" y="1403116"/>
                    </a:cubicBezTo>
                    <a:cubicBezTo>
                      <a:pt x="1217599" y="1412164"/>
                      <a:pt x="1213884" y="1422070"/>
                      <a:pt x="1211694" y="1432548"/>
                    </a:cubicBezTo>
                    <a:cubicBezTo>
                      <a:pt x="1210646" y="1437501"/>
                      <a:pt x="1210074" y="1442359"/>
                      <a:pt x="1209598" y="1447312"/>
                    </a:cubicBezTo>
                    <a:cubicBezTo>
                      <a:pt x="1209217" y="1452074"/>
                      <a:pt x="1210265" y="1459313"/>
                      <a:pt x="1208646" y="1463695"/>
                    </a:cubicBezTo>
                    <a:cubicBezTo>
                      <a:pt x="1205597" y="1471791"/>
                      <a:pt x="1192834" y="1476172"/>
                      <a:pt x="1185881" y="1479792"/>
                    </a:cubicBezTo>
                    <a:cubicBezTo>
                      <a:pt x="1177880" y="1483983"/>
                      <a:pt x="1170450" y="1488745"/>
                      <a:pt x="1163021" y="1493889"/>
                    </a:cubicBezTo>
                    <a:cubicBezTo>
                      <a:pt x="1146352" y="1505319"/>
                      <a:pt x="1130160" y="1516654"/>
                      <a:pt x="1115682" y="1530941"/>
                    </a:cubicBezTo>
                    <a:cubicBezTo>
                      <a:pt x="1109967" y="1536656"/>
                      <a:pt x="1104252" y="1542466"/>
                      <a:pt x="1098346" y="1547991"/>
                    </a:cubicBezTo>
                    <a:cubicBezTo>
                      <a:pt x="1095393" y="1550753"/>
                      <a:pt x="1092345" y="1553515"/>
                      <a:pt x="1089488" y="1556468"/>
                    </a:cubicBezTo>
                    <a:cubicBezTo>
                      <a:pt x="1087678" y="1558373"/>
                      <a:pt x="1084059" y="1564279"/>
                      <a:pt x="1081868" y="1565136"/>
                    </a:cubicBezTo>
                    <a:cubicBezTo>
                      <a:pt x="1104252" y="1513320"/>
                      <a:pt x="1141971" y="1470934"/>
                      <a:pt x="1176451" y="1427119"/>
                    </a:cubicBezTo>
                    <a:cubicBezTo>
                      <a:pt x="1191596" y="1407878"/>
                      <a:pt x="1207312" y="1387399"/>
                      <a:pt x="1215408" y="1364063"/>
                    </a:cubicBezTo>
                    <a:cubicBezTo>
                      <a:pt x="1222647" y="1343299"/>
                      <a:pt x="1229696" y="1319867"/>
                      <a:pt x="1231601" y="1298055"/>
                    </a:cubicBezTo>
                    <a:cubicBezTo>
                      <a:pt x="1235792" y="1299769"/>
                      <a:pt x="1244269" y="1295293"/>
                      <a:pt x="1248174" y="1293578"/>
                    </a:cubicBezTo>
                    <a:cubicBezTo>
                      <a:pt x="1254366" y="1290911"/>
                      <a:pt x="1259700" y="1287006"/>
                      <a:pt x="1264843" y="1282815"/>
                    </a:cubicBezTo>
                    <a:cubicBezTo>
                      <a:pt x="1275797" y="1273861"/>
                      <a:pt x="1285798" y="1263574"/>
                      <a:pt x="1294466" y="1252335"/>
                    </a:cubicBezTo>
                    <a:cubicBezTo>
                      <a:pt x="1309610" y="1232618"/>
                      <a:pt x="1320564" y="1212235"/>
                      <a:pt x="1327137" y="1188136"/>
                    </a:cubicBezTo>
                    <a:cubicBezTo>
                      <a:pt x="1339710" y="1142607"/>
                      <a:pt x="1333328" y="1095934"/>
                      <a:pt x="1320755" y="1051262"/>
                    </a:cubicBezTo>
                    <a:cubicBezTo>
                      <a:pt x="1317516" y="1039832"/>
                      <a:pt x="1313039" y="1028402"/>
                      <a:pt x="1311706" y="1016496"/>
                    </a:cubicBezTo>
                    <a:cubicBezTo>
                      <a:pt x="1310849" y="1009257"/>
                      <a:pt x="1309992" y="1001542"/>
                      <a:pt x="1302467" y="1009066"/>
                    </a:cubicBezTo>
                    <a:cubicBezTo>
                      <a:pt x="1291989" y="1019639"/>
                      <a:pt x="1282179" y="1031164"/>
                      <a:pt x="1272272" y="1042213"/>
                    </a:cubicBezTo>
                    <a:cubicBezTo>
                      <a:pt x="1236554" y="1081742"/>
                      <a:pt x="1200168" y="1126414"/>
                      <a:pt x="1193120" y="1181088"/>
                    </a:cubicBezTo>
                    <a:cubicBezTo>
                      <a:pt x="1189500" y="1209091"/>
                      <a:pt x="1190453" y="1243381"/>
                      <a:pt x="1202645" y="1269289"/>
                    </a:cubicBezTo>
                    <a:cubicBezTo>
                      <a:pt x="1206169" y="1276719"/>
                      <a:pt x="1211503" y="1285482"/>
                      <a:pt x="1217409" y="1291483"/>
                    </a:cubicBezTo>
                    <a:cubicBezTo>
                      <a:pt x="1220552" y="1294626"/>
                      <a:pt x="1221981" y="1294150"/>
                      <a:pt x="1222362" y="1298055"/>
                    </a:cubicBezTo>
                    <a:cubicBezTo>
                      <a:pt x="1222647" y="1301770"/>
                      <a:pt x="1220647" y="1306913"/>
                      <a:pt x="1219790" y="1310533"/>
                    </a:cubicBezTo>
                    <a:cubicBezTo>
                      <a:pt x="1218266" y="1317581"/>
                      <a:pt x="1216456" y="1329106"/>
                      <a:pt x="1214646" y="1333678"/>
                    </a:cubicBezTo>
                    <a:cubicBezTo>
                      <a:pt x="1205979" y="1364920"/>
                      <a:pt x="1188929" y="1390066"/>
                      <a:pt x="1170736" y="1416355"/>
                    </a:cubicBezTo>
                    <a:cubicBezTo>
                      <a:pt x="1153496" y="1441216"/>
                      <a:pt x="1135303" y="1465504"/>
                      <a:pt x="1117968" y="1490269"/>
                    </a:cubicBezTo>
                    <a:cubicBezTo>
                      <a:pt x="1085868" y="1536085"/>
                      <a:pt x="1056912" y="1583424"/>
                      <a:pt x="1035481" y="1635240"/>
                    </a:cubicBezTo>
                    <a:cubicBezTo>
                      <a:pt x="1035100" y="1604188"/>
                      <a:pt x="1037767" y="1573518"/>
                      <a:pt x="1039863" y="1542562"/>
                    </a:cubicBezTo>
                    <a:cubicBezTo>
                      <a:pt x="1040910" y="1526655"/>
                      <a:pt x="1043672" y="1510843"/>
                      <a:pt x="1045006" y="1494937"/>
                    </a:cubicBezTo>
                    <a:cubicBezTo>
                      <a:pt x="1045578" y="1488460"/>
                      <a:pt x="1046244" y="1482173"/>
                      <a:pt x="1047292" y="1475791"/>
                    </a:cubicBezTo>
                    <a:cubicBezTo>
                      <a:pt x="1047673" y="1473029"/>
                      <a:pt x="1047863" y="1469695"/>
                      <a:pt x="1048721" y="1467124"/>
                    </a:cubicBezTo>
                    <a:cubicBezTo>
                      <a:pt x="1049864" y="1463885"/>
                      <a:pt x="1051197" y="1463314"/>
                      <a:pt x="1052150" y="1460266"/>
                    </a:cubicBezTo>
                    <a:cubicBezTo>
                      <a:pt x="1053388" y="1456360"/>
                      <a:pt x="1053007" y="1451122"/>
                      <a:pt x="1053388" y="1447026"/>
                    </a:cubicBezTo>
                    <a:cubicBezTo>
                      <a:pt x="1053579" y="1445121"/>
                      <a:pt x="1053293" y="1442644"/>
                      <a:pt x="1053864" y="1440739"/>
                    </a:cubicBezTo>
                    <a:cubicBezTo>
                      <a:pt x="1054150" y="1439692"/>
                      <a:pt x="1056055" y="1439977"/>
                      <a:pt x="1056150" y="1437977"/>
                    </a:cubicBezTo>
                    <a:cubicBezTo>
                      <a:pt x="1056246" y="1434834"/>
                      <a:pt x="1054531" y="1431881"/>
                      <a:pt x="1054626" y="1428357"/>
                    </a:cubicBezTo>
                    <a:cubicBezTo>
                      <a:pt x="1055007" y="1412355"/>
                      <a:pt x="1055484" y="1396258"/>
                      <a:pt x="1055960" y="1380256"/>
                    </a:cubicBezTo>
                    <a:cubicBezTo>
                      <a:pt x="1057198" y="1343203"/>
                      <a:pt x="1052817" y="1306437"/>
                      <a:pt x="1054626" y="1269480"/>
                    </a:cubicBezTo>
                    <a:cubicBezTo>
                      <a:pt x="1057960" y="1200900"/>
                      <a:pt x="1056912" y="1132034"/>
                      <a:pt x="1062246" y="1063549"/>
                    </a:cubicBezTo>
                    <a:cubicBezTo>
                      <a:pt x="1066342" y="1011257"/>
                      <a:pt x="1072438" y="959155"/>
                      <a:pt x="1077867" y="906958"/>
                    </a:cubicBezTo>
                    <a:cubicBezTo>
                      <a:pt x="1080344" y="883432"/>
                      <a:pt x="1082916" y="859905"/>
                      <a:pt x="1085583" y="836378"/>
                    </a:cubicBezTo>
                    <a:cubicBezTo>
                      <a:pt x="1088535" y="810661"/>
                      <a:pt x="1093679" y="784276"/>
                      <a:pt x="1099394" y="759035"/>
                    </a:cubicBezTo>
                    <a:cubicBezTo>
                      <a:pt x="1100727" y="753225"/>
                      <a:pt x="1102156" y="747415"/>
                      <a:pt x="1103585" y="741700"/>
                    </a:cubicBezTo>
                    <a:cubicBezTo>
                      <a:pt x="1105585" y="733413"/>
                      <a:pt x="1111681" y="724936"/>
                      <a:pt x="1116253" y="720459"/>
                    </a:cubicBezTo>
                    <a:cubicBezTo>
                      <a:pt x="1138542" y="695408"/>
                      <a:pt x="1162640" y="673310"/>
                      <a:pt x="1190643" y="654736"/>
                    </a:cubicBezTo>
                    <a:cubicBezTo>
                      <a:pt x="1197025" y="650450"/>
                      <a:pt x="1203978" y="647021"/>
                      <a:pt x="1210741" y="643402"/>
                    </a:cubicBezTo>
                    <a:cubicBezTo>
                      <a:pt x="1218266" y="639401"/>
                      <a:pt x="1227886" y="632829"/>
                      <a:pt x="1236459" y="631495"/>
                    </a:cubicBezTo>
                    <a:cubicBezTo>
                      <a:pt x="1241697" y="630638"/>
                      <a:pt x="1243983" y="634353"/>
                      <a:pt x="1248555" y="637782"/>
                    </a:cubicBezTo>
                    <a:cubicBezTo>
                      <a:pt x="1255032" y="642544"/>
                      <a:pt x="1262652" y="645592"/>
                      <a:pt x="1270272" y="648164"/>
                    </a:cubicBezTo>
                    <a:cubicBezTo>
                      <a:pt x="1299133" y="657975"/>
                      <a:pt x="1335042" y="650736"/>
                      <a:pt x="1360760" y="635686"/>
                    </a:cubicBezTo>
                    <a:cubicBezTo>
                      <a:pt x="1386954" y="620256"/>
                      <a:pt x="1403908" y="604063"/>
                      <a:pt x="1420291" y="578536"/>
                    </a:cubicBezTo>
                    <a:cubicBezTo>
                      <a:pt x="1428673" y="565392"/>
                      <a:pt x="1436674" y="552152"/>
                      <a:pt x="1443151" y="537960"/>
                    </a:cubicBezTo>
                    <a:cubicBezTo>
                      <a:pt x="1450104" y="522625"/>
                      <a:pt x="1455152" y="505861"/>
                      <a:pt x="1464011" y="491478"/>
                    </a:cubicBezTo>
                    <a:cubicBezTo>
                      <a:pt x="1465916" y="488335"/>
                      <a:pt x="1474393" y="480334"/>
                      <a:pt x="1470773" y="476714"/>
                    </a:cubicBezTo>
                    <a:cubicBezTo>
                      <a:pt x="1468202" y="474142"/>
                      <a:pt x="1458296" y="477571"/>
                      <a:pt x="1455152" y="477857"/>
                    </a:cubicBezTo>
                    <a:cubicBezTo>
                      <a:pt x="1442770" y="479095"/>
                      <a:pt x="1430483" y="480334"/>
                      <a:pt x="1418100" y="481953"/>
                    </a:cubicBezTo>
                    <a:cubicBezTo>
                      <a:pt x="1354664" y="489954"/>
                      <a:pt x="1288084" y="507480"/>
                      <a:pt x="1252556" y="565392"/>
                    </a:cubicBezTo>
                    <a:cubicBezTo>
                      <a:pt x="1243126" y="580822"/>
                      <a:pt x="1238840" y="599777"/>
                      <a:pt x="1236554" y="617684"/>
                    </a:cubicBezTo>
                    <a:cubicBezTo>
                      <a:pt x="1236173" y="621113"/>
                      <a:pt x="1236459" y="622637"/>
                      <a:pt x="1234363" y="624637"/>
                    </a:cubicBezTo>
                    <a:cubicBezTo>
                      <a:pt x="1231887" y="626923"/>
                      <a:pt x="1225791" y="628447"/>
                      <a:pt x="1222552" y="629781"/>
                    </a:cubicBezTo>
                    <a:cubicBezTo>
                      <a:pt x="1214265" y="633210"/>
                      <a:pt x="1206645" y="637306"/>
                      <a:pt x="1198835" y="641687"/>
                    </a:cubicBezTo>
                    <a:cubicBezTo>
                      <a:pt x="1165593" y="660261"/>
                      <a:pt x="1137018" y="682073"/>
                      <a:pt x="1112253" y="711124"/>
                    </a:cubicBezTo>
                    <a:cubicBezTo>
                      <a:pt x="1118730" y="693313"/>
                      <a:pt x="1123587" y="675025"/>
                      <a:pt x="1129874" y="657213"/>
                    </a:cubicBezTo>
                    <a:cubicBezTo>
                      <a:pt x="1137970" y="634162"/>
                      <a:pt x="1150257" y="611493"/>
                      <a:pt x="1162259" y="590347"/>
                    </a:cubicBezTo>
                    <a:cubicBezTo>
                      <a:pt x="1187691" y="545675"/>
                      <a:pt x="1218361" y="502908"/>
                      <a:pt x="1259223" y="470713"/>
                    </a:cubicBezTo>
                    <a:cubicBezTo>
                      <a:pt x="1326279" y="417945"/>
                      <a:pt x="1408575" y="385369"/>
                      <a:pt x="1490395" y="363938"/>
                    </a:cubicBezTo>
                    <a:cubicBezTo>
                      <a:pt x="1506873" y="359652"/>
                      <a:pt x="1523161" y="354889"/>
                      <a:pt x="1539639" y="350794"/>
                    </a:cubicBezTo>
                    <a:cubicBezTo>
                      <a:pt x="1554213" y="347174"/>
                      <a:pt x="1566023" y="345174"/>
                      <a:pt x="1580978" y="348984"/>
                    </a:cubicBezTo>
                    <a:cubicBezTo>
                      <a:pt x="1590884" y="351556"/>
                      <a:pt x="1600409" y="355366"/>
                      <a:pt x="1610315" y="358223"/>
                    </a:cubicBezTo>
                    <a:cubicBezTo>
                      <a:pt x="1618411" y="360604"/>
                      <a:pt x="1627269" y="362605"/>
                      <a:pt x="1634604" y="366415"/>
                    </a:cubicBezTo>
                    <a:cubicBezTo>
                      <a:pt x="1645272" y="371463"/>
                      <a:pt x="1658226" y="376321"/>
                      <a:pt x="1667846" y="383083"/>
                    </a:cubicBezTo>
                    <a:cubicBezTo>
                      <a:pt x="1671656" y="385750"/>
                      <a:pt x="1670513" y="385369"/>
                      <a:pt x="1671275" y="388989"/>
                    </a:cubicBezTo>
                    <a:cubicBezTo>
                      <a:pt x="1672704" y="395656"/>
                      <a:pt x="1673180" y="401752"/>
                      <a:pt x="1675561" y="408325"/>
                    </a:cubicBezTo>
                    <a:cubicBezTo>
                      <a:pt x="1682895" y="428232"/>
                      <a:pt x="1691468" y="446425"/>
                      <a:pt x="1708708" y="459569"/>
                    </a:cubicBezTo>
                    <a:cubicBezTo>
                      <a:pt x="1741188" y="484334"/>
                      <a:pt x="1781670" y="488716"/>
                      <a:pt x="1821389" y="487954"/>
                    </a:cubicBezTo>
                    <a:cubicBezTo>
                      <a:pt x="1830247" y="487763"/>
                      <a:pt x="1839010" y="487382"/>
                      <a:pt x="1847868" y="487096"/>
                    </a:cubicBezTo>
                    <a:cubicBezTo>
                      <a:pt x="1858917" y="486620"/>
                      <a:pt x="1872062" y="487668"/>
                      <a:pt x="1882825" y="485668"/>
                    </a:cubicBezTo>
                    <a:cubicBezTo>
                      <a:pt x="1899113" y="482715"/>
                      <a:pt x="1872157" y="457474"/>
                      <a:pt x="1866633" y="451187"/>
                    </a:cubicBezTo>
                    <a:cubicBezTo>
                      <a:pt x="1833771" y="414040"/>
                      <a:pt x="1800910" y="376797"/>
                      <a:pt x="1749570" y="367748"/>
                    </a:cubicBezTo>
                    <a:cubicBezTo>
                      <a:pt x="1737855" y="365653"/>
                      <a:pt x="1725758" y="364129"/>
                      <a:pt x="1713852" y="364605"/>
                    </a:cubicBezTo>
                    <a:cubicBezTo>
                      <a:pt x="1707279" y="364891"/>
                      <a:pt x="1700802" y="366034"/>
                      <a:pt x="1694611" y="368320"/>
                    </a:cubicBezTo>
                    <a:cubicBezTo>
                      <a:pt x="1686896" y="371177"/>
                      <a:pt x="1684514" y="370606"/>
                      <a:pt x="1676418" y="368224"/>
                    </a:cubicBezTo>
                    <a:cubicBezTo>
                      <a:pt x="1651272" y="360604"/>
                      <a:pt x="1628603" y="347555"/>
                      <a:pt x="1605647" y="335077"/>
                    </a:cubicBezTo>
                    <a:cubicBezTo>
                      <a:pt x="1632127" y="327934"/>
                      <a:pt x="1658892" y="320790"/>
                      <a:pt x="1684705" y="311836"/>
                    </a:cubicBezTo>
                    <a:cubicBezTo>
                      <a:pt x="1724520" y="298025"/>
                      <a:pt x="1764906" y="283357"/>
                      <a:pt x="1805863" y="273546"/>
                    </a:cubicBezTo>
                    <a:cubicBezTo>
                      <a:pt x="1812721" y="271260"/>
                      <a:pt x="1823198" y="270974"/>
                      <a:pt x="1831390" y="269736"/>
                    </a:cubicBezTo>
                    <a:cubicBezTo>
                      <a:pt x="1842630" y="268021"/>
                      <a:pt x="1853964" y="267450"/>
                      <a:pt x="1865299" y="267355"/>
                    </a:cubicBezTo>
                    <a:cubicBezTo>
                      <a:pt x="1874729" y="267259"/>
                      <a:pt x="1879206" y="268593"/>
                      <a:pt x="1886349" y="274117"/>
                    </a:cubicBezTo>
                    <a:cubicBezTo>
                      <a:pt x="1894064" y="280118"/>
                      <a:pt x="1903494" y="283738"/>
                      <a:pt x="1912734" y="286690"/>
                    </a:cubicBezTo>
                    <a:cubicBezTo>
                      <a:pt x="1932450" y="293072"/>
                      <a:pt x="1953786" y="294977"/>
                      <a:pt x="1974360" y="293167"/>
                    </a:cubicBezTo>
                    <a:cubicBezTo>
                      <a:pt x="1991315" y="291739"/>
                      <a:pt x="2005888" y="286309"/>
                      <a:pt x="2021509" y="280213"/>
                    </a:cubicBezTo>
                    <a:cubicBezTo>
                      <a:pt x="2070087" y="261163"/>
                      <a:pt x="2099519" y="217063"/>
                      <a:pt x="2117426" y="169914"/>
                    </a:cubicBezTo>
                    <a:cubicBezTo>
                      <a:pt x="2125427" y="148768"/>
                      <a:pt x="2132856" y="127337"/>
                      <a:pt x="2140000" y="105906"/>
                    </a:cubicBezTo>
                    <a:cubicBezTo>
                      <a:pt x="2141143" y="102477"/>
                      <a:pt x="2142858" y="99238"/>
                      <a:pt x="2143905" y="96000"/>
                    </a:cubicBezTo>
                    <a:cubicBezTo>
                      <a:pt x="2146382" y="88761"/>
                      <a:pt x="2141619" y="89713"/>
                      <a:pt x="2136095" y="91237"/>
                    </a:cubicBezTo>
                    <a:cubicBezTo>
                      <a:pt x="2116473" y="96571"/>
                      <a:pt x="2095709" y="97714"/>
                      <a:pt x="2075706" y="100953"/>
                    </a:cubicBezTo>
                    <a:cubicBezTo>
                      <a:pt x="2000840" y="113240"/>
                      <a:pt x="1906161" y="134481"/>
                      <a:pt x="1876348" y="214491"/>
                    </a:cubicBezTo>
                    <a:cubicBezTo>
                      <a:pt x="1873110" y="223159"/>
                      <a:pt x="1873586" y="232207"/>
                      <a:pt x="1871014" y="240589"/>
                    </a:cubicBezTo>
                    <a:cubicBezTo>
                      <a:pt x="1870062" y="243733"/>
                      <a:pt x="1869871" y="243923"/>
                      <a:pt x="1866823" y="245923"/>
                    </a:cubicBezTo>
                    <a:cubicBezTo>
                      <a:pt x="1861965" y="248971"/>
                      <a:pt x="1854917" y="250686"/>
                      <a:pt x="1849488" y="252305"/>
                    </a:cubicBezTo>
                    <a:cubicBezTo>
                      <a:pt x="1832057" y="257449"/>
                      <a:pt x="1809673" y="260782"/>
                      <a:pt x="1790718" y="265164"/>
                    </a:cubicBezTo>
                    <a:cubicBezTo>
                      <a:pt x="1773859" y="269069"/>
                      <a:pt x="1753761" y="271736"/>
                      <a:pt x="1737664" y="278785"/>
                    </a:cubicBezTo>
                    <a:cubicBezTo>
                      <a:pt x="1724520" y="284500"/>
                      <a:pt x="1710899" y="289548"/>
                      <a:pt x="1697088" y="293358"/>
                    </a:cubicBezTo>
                    <a:cubicBezTo>
                      <a:pt x="1717471" y="276308"/>
                      <a:pt x="1734997" y="255734"/>
                      <a:pt x="1754523" y="237827"/>
                    </a:cubicBezTo>
                    <a:cubicBezTo>
                      <a:pt x="1758905" y="233827"/>
                      <a:pt x="1762429" y="231064"/>
                      <a:pt x="1768525" y="229350"/>
                    </a:cubicBezTo>
                    <a:cubicBezTo>
                      <a:pt x="1773859" y="227921"/>
                      <a:pt x="1779193" y="226397"/>
                      <a:pt x="1784527" y="224778"/>
                    </a:cubicBezTo>
                    <a:cubicBezTo>
                      <a:pt x="1796814" y="220968"/>
                      <a:pt x="1808816" y="216205"/>
                      <a:pt x="1819674" y="209347"/>
                    </a:cubicBezTo>
                    <a:cubicBezTo>
                      <a:pt x="1839391" y="196965"/>
                      <a:pt x="1858251" y="181534"/>
                      <a:pt x="1867490" y="159436"/>
                    </a:cubicBezTo>
                    <a:cubicBezTo>
                      <a:pt x="1877110" y="136481"/>
                      <a:pt x="1878634" y="111526"/>
                      <a:pt x="1878063" y="86951"/>
                    </a:cubicBezTo>
                    <a:cubicBezTo>
                      <a:pt x="1877396" y="63234"/>
                      <a:pt x="1874634" y="39802"/>
                      <a:pt x="1879206" y="16180"/>
                    </a:cubicBezTo>
                    <a:cubicBezTo>
                      <a:pt x="1879491" y="14752"/>
                      <a:pt x="1881206" y="9703"/>
                      <a:pt x="1880158" y="8275"/>
                    </a:cubicBezTo>
                    <a:cubicBezTo>
                      <a:pt x="1877110" y="4084"/>
                      <a:pt x="1871490" y="12751"/>
                      <a:pt x="1869204" y="14656"/>
                    </a:cubicBezTo>
                    <a:cubicBezTo>
                      <a:pt x="1861013" y="21419"/>
                      <a:pt x="1851488" y="26086"/>
                      <a:pt x="1842248" y="31135"/>
                    </a:cubicBezTo>
                    <a:cubicBezTo>
                      <a:pt x="1801196" y="53614"/>
                      <a:pt x="1754047" y="79903"/>
                      <a:pt x="1738902" y="127147"/>
                    </a:cubicBezTo>
                    <a:cubicBezTo>
                      <a:pt x="1732235" y="147816"/>
                      <a:pt x="1735188" y="168485"/>
                      <a:pt x="1738997" y="189440"/>
                    </a:cubicBezTo>
                    <a:cubicBezTo>
                      <a:pt x="1740331" y="196965"/>
                      <a:pt x="1741284" y="204394"/>
                      <a:pt x="1742141" y="212014"/>
                    </a:cubicBezTo>
                    <a:cubicBezTo>
                      <a:pt x="1743474" y="223825"/>
                      <a:pt x="1743665" y="231445"/>
                      <a:pt x="1735854" y="240970"/>
                    </a:cubicBezTo>
                    <a:cubicBezTo>
                      <a:pt x="1716042" y="265069"/>
                      <a:pt x="1691087" y="284023"/>
                      <a:pt x="1663750" y="298787"/>
                    </a:cubicBezTo>
                    <a:cubicBezTo>
                      <a:pt x="1648224" y="307169"/>
                      <a:pt x="1624983" y="308884"/>
                      <a:pt x="1606791" y="312503"/>
                    </a:cubicBezTo>
                    <a:cubicBezTo>
                      <a:pt x="1534591" y="326981"/>
                      <a:pt x="1458581" y="340030"/>
                      <a:pt x="1391145" y="370987"/>
                    </a:cubicBezTo>
                    <a:cubicBezTo>
                      <a:pt x="1372571" y="379464"/>
                      <a:pt x="1353616" y="386989"/>
                      <a:pt x="1335995" y="397371"/>
                    </a:cubicBezTo>
                    <a:cubicBezTo>
                      <a:pt x="1318564" y="407563"/>
                      <a:pt x="1301324" y="417945"/>
                      <a:pt x="1284464" y="429089"/>
                    </a:cubicBezTo>
                    <a:cubicBezTo>
                      <a:pt x="1261128" y="444520"/>
                      <a:pt x="1239411" y="462331"/>
                      <a:pt x="1218933" y="481286"/>
                    </a:cubicBezTo>
                    <a:cubicBezTo>
                      <a:pt x="1215313" y="484620"/>
                      <a:pt x="1211694" y="488049"/>
                      <a:pt x="1207979" y="491383"/>
                    </a:cubicBezTo>
                    <a:cubicBezTo>
                      <a:pt x="1211598" y="471190"/>
                      <a:pt x="1215408" y="451473"/>
                      <a:pt x="1221981" y="432042"/>
                    </a:cubicBezTo>
                    <a:cubicBezTo>
                      <a:pt x="1223695" y="426994"/>
                      <a:pt x="1225410" y="421945"/>
                      <a:pt x="1227219" y="416897"/>
                    </a:cubicBezTo>
                    <a:cubicBezTo>
                      <a:pt x="1230363" y="408420"/>
                      <a:pt x="1235220" y="406134"/>
                      <a:pt x="1243031" y="401181"/>
                    </a:cubicBezTo>
                    <a:cubicBezTo>
                      <a:pt x="1266367" y="386417"/>
                      <a:pt x="1289703" y="370891"/>
                      <a:pt x="1308848" y="350794"/>
                    </a:cubicBezTo>
                    <a:cubicBezTo>
                      <a:pt x="1316373" y="342888"/>
                      <a:pt x="1322374" y="333649"/>
                      <a:pt x="1329137" y="325076"/>
                    </a:cubicBezTo>
                    <a:cubicBezTo>
                      <a:pt x="1336090" y="316218"/>
                      <a:pt x="1341043" y="306788"/>
                      <a:pt x="1344377" y="296025"/>
                    </a:cubicBezTo>
                    <a:cubicBezTo>
                      <a:pt x="1350759" y="275260"/>
                      <a:pt x="1348663" y="253067"/>
                      <a:pt x="1347139" y="231731"/>
                    </a:cubicBezTo>
                    <a:cubicBezTo>
                      <a:pt x="1345139" y="203728"/>
                      <a:pt x="1340376" y="176010"/>
                      <a:pt x="1336281" y="148197"/>
                    </a:cubicBezTo>
                    <a:cubicBezTo>
                      <a:pt x="1335328" y="141910"/>
                      <a:pt x="1336090" y="124289"/>
                      <a:pt x="1329327" y="122765"/>
                    </a:cubicBezTo>
                    <a:cubicBezTo>
                      <a:pt x="1324851" y="121813"/>
                      <a:pt x="1316088" y="128956"/>
                      <a:pt x="1312182" y="131338"/>
                    </a:cubicBezTo>
                    <a:cubicBezTo>
                      <a:pt x="1291894" y="144006"/>
                      <a:pt x="1272749" y="160675"/>
                      <a:pt x="1258176" y="179725"/>
                    </a:cubicBezTo>
                    <a:cubicBezTo>
                      <a:pt x="1252270" y="187440"/>
                      <a:pt x="1247698" y="196012"/>
                      <a:pt x="1242173" y="204013"/>
                    </a:cubicBezTo>
                    <a:cubicBezTo>
                      <a:pt x="1235411" y="214015"/>
                      <a:pt x="1229029" y="222873"/>
                      <a:pt x="1224171" y="234017"/>
                    </a:cubicBezTo>
                    <a:cubicBezTo>
                      <a:pt x="1216075" y="252781"/>
                      <a:pt x="1209312" y="271927"/>
                      <a:pt x="1207598" y="292405"/>
                    </a:cubicBezTo>
                    <a:cubicBezTo>
                      <a:pt x="1205788" y="314313"/>
                      <a:pt x="1206645" y="333839"/>
                      <a:pt x="1211789" y="355366"/>
                    </a:cubicBezTo>
                    <a:cubicBezTo>
                      <a:pt x="1214551" y="367177"/>
                      <a:pt x="1217790" y="378988"/>
                      <a:pt x="1221409" y="390513"/>
                    </a:cubicBezTo>
                    <a:cubicBezTo>
                      <a:pt x="1224076" y="398990"/>
                      <a:pt x="1218456" y="406229"/>
                      <a:pt x="1215027" y="414040"/>
                    </a:cubicBezTo>
                    <a:cubicBezTo>
                      <a:pt x="1211694" y="421564"/>
                      <a:pt x="1208741" y="429280"/>
                      <a:pt x="1205693" y="436900"/>
                    </a:cubicBezTo>
                    <a:cubicBezTo>
                      <a:pt x="1198740" y="454711"/>
                      <a:pt x="1194453" y="473380"/>
                      <a:pt x="1191691" y="492335"/>
                    </a:cubicBezTo>
                    <a:cubicBezTo>
                      <a:pt x="1190643" y="499288"/>
                      <a:pt x="1191120" y="506432"/>
                      <a:pt x="1187310" y="512052"/>
                    </a:cubicBezTo>
                    <a:cubicBezTo>
                      <a:pt x="1184166" y="516624"/>
                      <a:pt x="1179213" y="520910"/>
                      <a:pt x="1175594" y="525101"/>
                    </a:cubicBezTo>
                    <a:cubicBezTo>
                      <a:pt x="1169688" y="531959"/>
                      <a:pt x="1163878" y="538817"/>
                      <a:pt x="1158354" y="545961"/>
                    </a:cubicBezTo>
                    <a:cubicBezTo>
                      <a:pt x="1147590" y="560248"/>
                      <a:pt x="1138256" y="575393"/>
                      <a:pt x="1129302" y="590919"/>
                    </a:cubicBezTo>
                    <a:cubicBezTo>
                      <a:pt x="1107490" y="628828"/>
                      <a:pt x="1091107" y="668833"/>
                      <a:pt x="1077010" y="710172"/>
                    </a:cubicBezTo>
                    <a:cubicBezTo>
                      <a:pt x="1063770" y="748939"/>
                      <a:pt x="1052245" y="789325"/>
                      <a:pt x="1042625" y="829234"/>
                    </a:cubicBezTo>
                    <a:cubicBezTo>
                      <a:pt x="1019384" y="791992"/>
                      <a:pt x="1002429" y="750844"/>
                      <a:pt x="992047" y="708172"/>
                    </a:cubicBezTo>
                    <a:cubicBezTo>
                      <a:pt x="986903" y="686836"/>
                      <a:pt x="981665" y="664357"/>
                      <a:pt x="979855" y="642449"/>
                    </a:cubicBezTo>
                    <a:cubicBezTo>
                      <a:pt x="979093" y="633496"/>
                      <a:pt x="977759" y="623209"/>
                      <a:pt x="979855" y="614446"/>
                    </a:cubicBezTo>
                    <a:cubicBezTo>
                      <a:pt x="982427" y="603873"/>
                      <a:pt x="987761" y="593776"/>
                      <a:pt x="992333" y="583966"/>
                    </a:cubicBezTo>
                    <a:cubicBezTo>
                      <a:pt x="1009763" y="546247"/>
                      <a:pt x="1029861" y="509385"/>
                      <a:pt x="1020051" y="466427"/>
                    </a:cubicBezTo>
                    <a:cubicBezTo>
                      <a:pt x="1013097" y="435661"/>
                      <a:pt x="993571" y="405848"/>
                      <a:pt x="971663" y="383560"/>
                    </a:cubicBezTo>
                    <a:cubicBezTo>
                      <a:pt x="964044" y="375844"/>
                      <a:pt x="956328" y="368320"/>
                      <a:pt x="948327" y="360985"/>
                    </a:cubicBezTo>
                    <a:cubicBezTo>
                      <a:pt x="940136" y="353461"/>
                      <a:pt x="931563" y="347460"/>
                      <a:pt x="925086" y="338316"/>
                    </a:cubicBezTo>
                    <a:cubicBezTo>
                      <a:pt x="922229" y="334315"/>
                      <a:pt x="920705" y="330696"/>
                      <a:pt x="917180" y="335077"/>
                    </a:cubicBezTo>
                    <a:cubicBezTo>
                      <a:pt x="914609" y="338316"/>
                      <a:pt x="913561" y="346507"/>
                      <a:pt x="912323" y="350222"/>
                    </a:cubicBezTo>
                    <a:cubicBezTo>
                      <a:pt x="907274" y="365843"/>
                      <a:pt x="899940" y="380512"/>
                      <a:pt x="893749" y="395656"/>
                    </a:cubicBezTo>
                    <a:cubicBezTo>
                      <a:pt x="885176" y="416707"/>
                      <a:pt x="877557" y="438138"/>
                      <a:pt x="874128" y="460712"/>
                    </a:cubicBezTo>
                    <a:cubicBezTo>
                      <a:pt x="869174" y="493764"/>
                      <a:pt x="875842" y="538436"/>
                      <a:pt x="900417" y="563296"/>
                    </a:cubicBezTo>
                    <a:cubicBezTo>
                      <a:pt x="910989" y="573964"/>
                      <a:pt x="923943" y="580060"/>
                      <a:pt x="935945" y="588633"/>
                    </a:cubicBezTo>
                    <a:cubicBezTo>
                      <a:pt x="944232" y="594538"/>
                      <a:pt x="952994" y="601682"/>
                      <a:pt x="959662" y="609493"/>
                    </a:cubicBezTo>
                    <a:cubicBezTo>
                      <a:pt x="966615" y="617684"/>
                      <a:pt x="968425" y="625495"/>
                      <a:pt x="970044" y="635782"/>
                    </a:cubicBezTo>
                    <a:cubicBezTo>
                      <a:pt x="977283" y="683216"/>
                      <a:pt x="987189" y="730270"/>
                      <a:pt x="1005001" y="774942"/>
                    </a:cubicBezTo>
                    <a:cubicBezTo>
                      <a:pt x="995667" y="766655"/>
                      <a:pt x="985094" y="759988"/>
                      <a:pt x="974616" y="753320"/>
                    </a:cubicBezTo>
                    <a:cubicBezTo>
                      <a:pt x="968806" y="749605"/>
                      <a:pt x="962901" y="745891"/>
                      <a:pt x="956709" y="742843"/>
                    </a:cubicBezTo>
                    <a:cubicBezTo>
                      <a:pt x="951280" y="740176"/>
                      <a:pt x="945470" y="739318"/>
                      <a:pt x="942326" y="734461"/>
                    </a:cubicBezTo>
                    <a:cubicBezTo>
                      <a:pt x="937278" y="726841"/>
                      <a:pt x="935849" y="715315"/>
                      <a:pt x="931563" y="706933"/>
                    </a:cubicBezTo>
                    <a:cubicBezTo>
                      <a:pt x="927277" y="698456"/>
                      <a:pt x="923276" y="689122"/>
                      <a:pt x="917847" y="681311"/>
                    </a:cubicBezTo>
                    <a:cubicBezTo>
                      <a:pt x="903369" y="660451"/>
                      <a:pt x="885272" y="644449"/>
                      <a:pt x="860983" y="636067"/>
                    </a:cubicBezTo>
                    <a:cubicBezTo>
                      <a:pt x="838790" y="628447"/>
                      <a:pt x="816215" y="624828"/>
                      <a:pt x="792784" y="625685"/>
                    </a:cubicBezTo>
                    <a:cubicBezTo>
                      <a:pt x="773353" y="626447"/>
                      <a:pt x="754208" y="628543"/>
                      <a:pt x="734872" y="629781"/>
                    </a:cubicBezTo>
                    <a:cubicBezTo>
                      <a:pt x="725919" y="630352"/>
                      <a:pt x="717251" y="632162"/>
                      <a:pt x="708392" y="632829"/>
                    </a:cubicBezTo>
                    <a:cubicBezTo>
                      <a:pt x="704201" y="633115"/>
                      <a:pt x="700106" y="633019"/>
                      <a:pt x="695915" y="632829"/>
                    </a:cubicBezTo>
                    <a:cubicBezTo>
                      <a:pt x="691152" y="632638"/>
                      <a:pt x="687438" y="631591"/>
                      <a:pt x="690009" y="637877"/>
                    </a:cubicBezTo>
                    <a:cubicBezTo>
                      <a:pt x="691819" y="642259"/>
                      <a:pt x="698105" y="646735"/>
                      <a:pt x="701344" y="650260"/>
                    </a:cubicBezTo>
                    <a:cubicBezTo>
                      <a:pt x="706297" y="655594"/>
                      <a:pt x="711345" y="660928"/>
                      <a:pt x="716394" y="666262"/>
                    </a:cubicBezTo>
                    <a:cubicBezTo>
                      <a:pt x="722966" y="673215"/>
                      <a:pt x="729157" y="680644"/>
                      <a:pt x="735920" y="687407"/>
                    </a:cubicBezTo>
                    <a:cubicBezTo>
                      <a:pt x="754208" y="705790"/>
                      <a:pt x="774496" y="723793"/>
                      <a:pt x="796784" y="737128"/>
                    </a:cubicBezTo>
                    <a:cubicBezTo>
                      <a:pt x="822121" y="752272"/>
                      <a:pt x="849648" y="761416"/>
                      <a:pt x="879176" y="762274"/>
                    </a:cubicBezTo>
                    <a:cubicBezTo>
                      <a:pt x="890511" y="762559"/>
                      <a:pt x="901655" y="761512"/>
                      <a:pt x="912513" y="757987"/>
                    </a:cubicBezTo>
                    <a:cubicBezTo>
                      <a:pt x="919657" y="755701"/>
                      <a:pt x="937564" y="743986"/>
                      <a:pt x="942041" y="746748"/>
                    </a:cubicBezTo>
                    <a:cubicBezTo>
                      <a:pt x="963472" y="757511"/>
                      <a:pt x="983855" y="769132"/>
                      <a:pt x="1002239" y="784657"/>
                    </a:cubicBezTo>
                    <a:cubicBezTo>
                      <a:pt x="1018050" y="797897"/>
                      <a:pt x="1026051" y="820376"/>
                      <a:pt x="1036243" y="838283"/>
                    </a:cubicBezTo>
                    <a:cubicBezTo>
                      <a:pt x="1039482" y="843998"/>
                      <a:pt x="1039005" y="845522"/>
                      <a:pt x="1037672" y="852285"/>
                    </a:cubicBezTo>
                    <a:cubicBezTo>
                      <a:pt x="1036910" y="856000"/>
                      <a:pt x="1036243" y="859619"/>
                      <a:pt x="1035481" y="863334"/>
                    </a:cubicBezTo>
                    <a:cubicBezTo>
                      <a:pt x="1034147" y="869811"/>
                      <a:pt x="1032719" y="876288"/>
                      <a:pt x="1031480" y="882765"/>
                    </a:cubicBezTo>
                    <a:cubicBezTo>
                      <a:pt x="1026242" y="910102"/>
                      <a:pt x="1020622" y="937248"/>
                      <a:pt x="1016431" y="964680"/>
                    </a:cubicBezTo>
                    <a:cubicBezTo>
                      <a:pt x="1008430" y="1017639"/>
                      <a:pt x="1005287" y="1069931"/>
                      <a:pt x="1002524" y="1123271"/>
                    </a:cubicBezTo>
                    <a:cubicBezTo>
                      <a:pt x="999381" y="1184993"/>
                      <a:pt x="1005858" y="1246715"/>
                      <a:pt x="1003858" y="1308437"/>
                    </a:cubicBezTo>
                    <a:cubicBezTo>
                      <a:pt x="1002905" y="1337774"/>
                      <a:pt x="1000143" y="1366540"/>
                      <a:pt x="996905" y="1395686"/>
                    </a:cubicBezTo>
                    <a:cubicBezTo>
                      <a:pt x="993476" y="1427214"/>
                      <a:pt x="990523" y="1458456"/>
                      <a:pt x="988809" y="1490174"/>
                    </a:cubicBezTo>
                    <a:cubicBezTo>
                      <a:pt x="986903" y="1525512"/>
                      <a:pt x="980712" y="1560278"/>
                      <a:pt x="978236" y="1595425"/>
                    </a:cubicBezTo>
                    <a:cubicBezTo>
                      <a:pt x="976331" y="1622572"/>
                      <a:pt x="973473" y="1649623"/>
                      <a:pt x="971473" y="1676769"/>
                    </a:cubicBezTo>
                    <a:cubicBezTo>
                      <a:pt x="955185" y="1650480"/>
                      <a:pt x="939945" y="1623334"/>
                      <a:pt x="922896" y="1597426"/>
                    </a:cubicBezTo>
                    <a:cubicBezTo>
                      <a:pt x="905941" y="1571613"/>
                      <a:pt x="888320" y="1544943"/>
                      <a:pt x="875747" y="1516749"/>
                    </a:cubicBezTo>
                    <a:cubicBezTo>
                      <a:pt x="861555" y="1484935"/>
                      <a:pt x="842028" y="1451026"/>
                      <a:pt x="841933" y="1415212"/>
                    </a:cubicBezTo>
                    <a:cubicBezTo>
                      <a:pt x="841838" y="1395496"/>
                      <a:pt x="843647" y="1375303"/>
                      <a:pt x="846315" y="1355681"/>
                    </a:cubicBezTo>
                    <a:cubicBezTo>
                      <a:pt x="847362" y="1348347"/>
                      <a:pt x="847457" y="1337869"/>
                      <a:pt x="850601" y="1331392"/>
                    </a:cubicBezTo>
                    <a:cubicBezTo>
                      <a:pt x="853363" y="1325582"/>
                      <a:pt x="860792" y="1321867"/>
                      <a:pt x="866126" y="1317867"/>
                    </a:cubicBezTo>
                    <a:cubicBezTo>
                      <a:pt x="881462" y="1306532"/>
                      <a:pt x="894606" y="1293483"/>
                      <a:pt x="903465" y="1276528"/>
                    </a:cubicBezTo>
                    <a:cubicBezTo>
                      <a:pt x="912418" y="1259288"/>
                      <a:pt x="911942" y="1240048"/>
                      <a:pt x="911180" y="1220902"/>
                    </a:cubicBezTo>
                    <a:cubicBezTo>
                      <a:pt x="909942" y="1193089"/>
                      <a:pt x="899655" y="1164038"/>
                      <a:pt x="889558" y="1138321"/>
                    </a:cubicBezTo>
                    <a:cubicBezTo>
                      <a:pt x="886319" y="1130129"/>
                      <a:pt x="882224" y="1122509"/>
                      <a:pt x="878509" y="1114508"/>
                    </a:cubicBezTo>
                    <a:cubicBezTo>
                      <a:pt x="876509" y="1110222"/>
                      <a:pt x="873080" y="1086409"/>
                      <a:pt x="868698" y="1086028"/>
                    </a:cubicBezTo>
                    <a:cubicBezTo>
                      <a:pt x="865174" y="1085647"/>
                      <a:pt x="853268" y="1114413"/>
                      <a:pt x="850505" y="1119556"/>
                    </a:cubicBezTo>
                    <a:cubicBezTo>
                      <a:pt x="831551" y="1155275"/>
                      <a:pt x="811548" y="1192804"/>
                      <a:pt x="806976" y="1233666"/>
                    </a:cubicBezTo>
                    <a:cubicBezTo>
                      <a:pt x="804214" y="1258336"/>
                      <a:pt x="806214" y="1284910"/>
                      <a:pt x="818978" y="1306532"/>
                    </a:cubicBezTo>
                    <a:cubicBezTo>
                      <a:pt x="826407" y="1319200"/>
                      <a:pt x="838123" y="1331297"/>
                      <a:pt x="836790" y="1346918"/>
                    </a:cubicBezTo>
                    <a:cubicBezTo>
                      <a:pt x="835361" y="1363968"/>
                      <a:pt x="830789" y="1380160"/>
                      <a:pt x="830694" y="1397496"/>
                    </a:cubicBezTo>
                    <a:cubicBezTo>
                      <a:pt x="830503" y="1416641"/>
                      <a:pt x="831932" y="1435691"/>
                      <a:pt x="833742" y="1454741"/>
                    </a:cubicBezTo>
                    <a:cubicBezTo>
                      <a:pt x="825264" y="1430071"/>
                      <a:pt x="809643" y="1406545"/>
                      <a:pt x="797832" y="1383494"/>
                    </a:cubicBezTo>
                    <a:cubicBezTo>
                      <a:pt x="781259" y="1351014"/>
                      <a:pt x="761447" y="1320343"/>
                      <a:pt x="745635" y="1287482"/>
                    </a:cubicBezTo>
                    <a:cubicBezTo>
                      <a:pt x="742492" y="1280910"/>
                      <a:pt x="738587" y="1275100"/>
                      <a:pt x="738872" y="1267765"/>
                    </a:cubicBezTo>
                    <a:cubicBezTo>
                      <a:pt x="739158" y="1261574"/>
                      <a:pt x="739539" y="1255288"/>
                      <a:pt x="739539" y="1249096"/>
                    </a:cubicBezTo>
                    <a:cubicBezTo>
                      <a:pt x="739634" y="1233571"/>
                      <a:pt x="738777" y="1217854"/>
                      <a:pt x="735253" y="1202710"/>
                    </a:cubicBezTo>
                    <a:cubicBezTo>
                      <a:pt x="723823" y="1152894"/>
                      <a:pt x="681342" y="1125652"/>
                      <a:pt x="640194" y="1101840"/>
                    </a:cubicBezTo>
                    <a:cubicBezTo>
                      <a:pt x="623715" y="1092315"/>
                      <a:pt x="606094" y="1086124"/>
                      <a:pt x="588473" y="1079170"/>
                    </a:cubicBezTo>
                    <a:cubicBezTo>
                      <a:pt x="581710" y="1076503"/>
                      <a:pt x="574852" y="1069360"/>
                      <a:pt x="567899" y="1067740"/>
                    </a:cubicBezTo>
                    <a:cubicBezTo>
                      <a:pt x="556945" y="1065073"/>
                      <a:pt x="566851" y="1085647"/>
                      <a:pt x="568184" y="1090981"/>
                    </a:cubicBezTo>
                    <a:cubicBezTo>
                      <a:pt x="577900" y="1129843"/>
                      <a:pt x="587520" y="1168896"/>
                      <a:pt x="609523" y="1202995"/>
                    </a:cubicBezTo>
                    <a:cubicBezTo>
                      <a:pt x="624668" y="1226427"/>
                      <a:pt x="644289" y="1245382"/>
                      <a:pt x="668769" y="1258907"/>
                    </a:cubicBezTo>
                    <a:cubicBezTo>
                      <a:pt x="679913" y="1265098"/>
                      <a:pt x="691724" y="1268051"/>
                      <a:pt x="703535" y="1272433"/>
                    </a:cubicBezTo>
                    <a:cubicBezTo>
                      <a:pt x="710774" y="1275100"/>
                      <a:pt x="720299" y="1276624"/>
                      <a:pt x="725347" y="1282434"/>
                    </a:cubicBezTo>
                    <a:cubicBezTo>
                      <a:pt x="736396" y="1295197"/>
                      <a:pt x="744302" y="1312247"/>
                      <a:pt x="752874" y="1326725"/>
                    </a:cubicBezTo>
                    <a:cubicBezTo>
                      <a:pt x="766114" y="1349109"/>
                      <a:pt x="778878" y="1371397"/>
                      <a:pt x="790022" y="1394924"/>
                    </a:cubicBezTo>
                    <a:cubicBezTo>
                      <a:pt x="819263" y="1456551"/>
                      <a:pt x="852030" y="1516082"/>
                      <a:pt x="883176" y="1576756"/>
                    </a:cubicBezTo>
                    <a:cubicBezTo>
                      <a:pt x="887272" y="1584757"/>
                      <a:pt x="891368" y="1592854"/>
                      <a:pt x="895273" y="1600950"/>
                    </a:cubicBezTo>
                    <a:cubicBezTo>
                      <a:pt x="879271" y="1591996"/>
                      <a:pt x="863745" y="1582376"/>
                      <a:pt x="846791" y="1575232"/>
                    </a:cubicBezTo>
                    <a:cubicBezTo>
                      <a:pt x="822883" y="1565136"/>
                      <a:pt x="798975" y="1559326"/>
                      <a:pt x="773924" y="1552944"/>
                    </a:cubicBezTo>
                    <a:cubicBezTo>
                      <a:pt x="769162" y="1551706"/>
                      <a:pt x="759161" y="1551229"/>
                      <a:pt x="755541" y="1548562"/>
                    </a:cubicBezTo>
                    <a:cubicBezTo>
                      <a:pt x="752493" y="1546276"/>
                      <a:pt x="749731" y="1539037"/>
                      <a:pt x="747350" y="1535894"/>
                    </a:cubicBezTo>
                    <a:cubicBezTo>
                      <a:pt x="742778" y="1529893"/>
                      <a:pt x="737730" y="1524369"/>
                      <a:pt x="732586" y="1518940"/>
                    </a:cubicBezTo>
                    <a:cubicBezTo>
                      <a:pt x="715727" y="1501128"/>
                      <a:pt x="697820" y="1485316"/>
                      <a:pt x="674865" y="1476077"/>
                    </a:cubicBezTo>
                    <a:cubicBezTo>
                      <a:pt x="649909" y="1465981"/>
                      <a:pt x="624096" y="1459218"/>
                      <a:pt x="597045" y="1458456"/>
                    </a:cubicBezTo>
                    <a:cubicBezTo>
                      <a:pt x="578090" y="1457884"/>
                      <a:pt x="557898" y="1461123"/>
                      <a:pt x="539324" y="1464933"/>
                    </a:cubicBezTo>
                    <a:cubicBezTo>
                      <a:pt x="525322" y="1467790"/>
                      <a:pt x="538848" y="1479316"/>
                      <a:pt x="543991" y="1485888"/>
                    </a:cubicBezTo>
                    <a:cubicBezTo>
                      <a:pt x="551420" y="1495318"/>
                      <a:pt x="557516" y="1505700"/>
                      <a:pt x="564279" y="1515606"/>
                    </a:cubicBezTo>
                    <a:cubicBezTo>
                      <a:pt x="578472" y="1536370"/>
                      <a:pt x="595235" y="1557040"/>
                      <a:pt x="615714" y="1572089"/>
                    </a:cubicBezTo>
                    <a:cubicBezTo>
                      <a:pt x="638384" y="1588758"/>
                      <a:pt x="667626" y="1601998"/>
                      <a:pt x="696296" y="1597997"/>
                    </a:cubicBezTo>
                    <a:cubicBezTo>
                      <a:pt x="716394" y="1595140"/>
                      <a:pt x="746111" y="1585138"/>
                      <a:pt x="756303" y="1565517"/>
                    </a:cubicBezTo>
                    <a:cubicBezTo>
                      <a:pt x="771448" y="1567708"/>
                      <a:pt x="786688" y="1569422"/>
                      <a:pt x="801928" y="1572661"/>
                    </a:cubicBezTo>
                    <a:cubicBezTo>
                      <a:pt x="813644" y="1575137"/>
                      <a:pt x="824597" y="1580090"/>
                      <a:pt x="835551" y="1584948"/>
                    </a:cubicBezTo>
                    <a:cubicBezTo>
                      <a:pt x="848982" y="1590853"/>
                      <a:pt x="863078" y="1596759"/>
                      <a:pt x="875747" y="1604379"/>
                    </a:cubicBezTo>
                    <a:cubicBezTo>
                      <a:pt x="885462" y="1610189"/>
                      <a:pt x="900036" y="1614666"/>
                      <a:pt x="906703" y="1624191"/>
                    </a:cubicBezTo>
                    <a:cubicBezTo>
                      <a:pt x="910894" y="1630192"/>
                      <a:pt x="913180" y="1638669"/>
                      <a:pt x="916038" y="1645432"/>
                    </a:cubicBezTo>
                    <a:cubicBezTo>
                      <a:pt x="920038" y="1654861"/>
                      <a:pt x="923657" y="1664386"/>
                      <a:pt x="927086" y="1674007"/>
                    </a:cubicBezTo>
                    <a:cubicBezTo>
                      <a:pt x="933373" y="1691914"/>
                      <a:pt x="938707" y="1710106"/>
                      <a:pt x="944517" y="1728204"/>
                    </a:cubicBezTo>
                    <a:cubicBezTo>
                      <a:pt x="956042" y="1764208"/>
                      <a:pt x="962996" y="1802023"/>
                      <a:pt x="967472" y="1839551"/>
                    </a:cubicBezTo>
                    <a:cubicBezTo>
                      <a:pt x="975950" y="1909750"/>
                      <a:pt x="983951" y="1979854"/>
                      <a:pt x="991094" y="2050244"/>
                    </a:cubicBezTo>
                    <a:cubicBezTo>
                      <a:pt x="994142" y="2080153"/>
                      <a:pt x="995476" y="2110537"/>
                      <a:pt x="995857" y="2140541"/>
                    </a:cubicBezTo>
                    <a:cubicBezTo>
                      <a:pt x="996238" y="2169974"/>
                      <a:pt x="997381" y="2202358"/>
                      <a:pt x="988237" y="2230648"/>
                    </a:cubicBezTo>
                    <a:cubicBezTo>
                      <a:pt x="982808" y="2247412"/>
                      <a:pt x="968044" y="2271320"/>
                      <a:pt x="947184" y="2261223"/>
                    </a:cubicBezTo>
                    <a:cubicBezTo>
                      <a:pt x="940231" y="2257889"/>
                      <a:pt x="934802" y="2251127"/>
                      <a:pt x="929182" y="2245983"/>
                    </a:cubicBezTo>
                    <a:cubicBezTo>
                      <a:pt x="922515" y="2239887"/>
                      <a:pt x="916133" y="2233696"/>
                      <a:pt x="909942" y="2227124"/>
                    </a:cubicBezTo>
                    <a:cubicBezTo>
                      <a:pt x="897940" y="2214360"/>
                      <a:pt x="889653" y="2198358"/>
                      <a:pt x="879938" y="2183690"/>
                    </a:cubicBezTo>
                    <a:cubicBezTo>
                      <a:pt x="868603" y="2166545"/>
                      <a:pt x="856316" y="2150257"/>
                      <a:pt x="843647" y="2134255"/>
                    </a:cubicBezTo>
                    <a:cubicBezTo>
                      <a:pt x="824883" y="2110537"/>
                      <a:pt x="804690" y="2088058"/>
                      <a:pt x="784211" y="2065770"/>
                    </a:cubicBezTo>
                    <a:cubicBezTo>
                      <a:pt x="772305" y="2052816"/>
                      <a:pt x="761256" y="2039290"/>
                      <a:pt x="749922" y="2025860"/>
                    </a:cubicBezTo>
                    <a:cubicBezTo>
                      <a:pt x="739063" y="2013097"/>
                      <a:pt x="728014" y="1999095"/>
                      <a:pt x="719156" y="1984522"/>
                    </a:cubicBezTo>
                    <a:cubicBezTo>
                      <a:pt x="709345" y="1968329"/>
                      <a:pt x="699153" y="1952422"/>
                      <a:pt x="689342" y="1936325"/>
                    </a:cubicBezTo>
                    <a:cubicBezTo>
                      <a:pt x="687723" y="1933563"/>
                      <a:pt x="684961" y="1930324"/>
                      <a:pt x="684580" y="1927467"/>
                    </a:cubicBezTo>
                    <a:cubicBezTo>
                      <a:pt x="683532" y="1919752"/>
                      <a:pt x="689342" y="1907274"/>
                      <a:pt x="692200" y="1900225"/>
                    </a:cubicBezTo>
                    <a:cubicBezTo>
                      <a:pt x="705154" y="1868221"/>
                      <a:pt x="715346" y="1836027"/>
                      <a:pt x="712298" y="1800880"/>
                    </a:cubicBezTo>
                    <a:cubicBezTo>
                      <a:pt x="709059" y="1762875"/>
                      <a:pt x="687723" y="1722775"/>
                      <a:pt x="662863" y="1694676"/>
                    </a:cubicBezTo>
                    <a:cubicBezTo>
                      <a:pt x="655338" y="1686199"/>
                      <a:pt x="647051" y="1678483"/>
                      <a:pt x="639051" y="1670578"/>
                    </a:cubicBezTo>
                    <a:cubicBezTo>
                      <a:pt x="636384" y="1667911"/>
                      <a:pt x="631240" y="1660195"/>
                      <a:pt x="627621" y="1659529"/>
                    </a:cubicBezTo>
                    <a:cubicBezTo>
                      <a:pt x="621334" y="1658481"/>
                      <a:pt x="619810" y="1670387"/>
                      <a:pt x="618096" y="1675054"/>
                    </a:cubicBezTo>
                    <a:cubicBezTo>
                      <a:pt x="592092" y="1744873"/>
                      <a:pt x="562755" y="1837265"/>
                      <a:pt x="626763" y="1896415"/>
                    </a:cubicBezTo>
                    <a:cubicBezTo>
                      <a:pt x="641336" y="1909941"/>
                      <a:pt x="656672" y="1922704"/>
                      <a:pt x="672007" y="1935373"/>
                    </a:cubicBezTo>
                    <a:cubicBezTo>
                      <a:pt x="677817" y="1940230"/>
                      <a:pt x="681056" y="1946231"/>
                      <a:pt x="685151" y="1952708"/>
                    </a:cubicBezTo>
                    <a:cubicBezTo>
                      <a:pt x="692009" y="1963757"/>
                      <a:pt x="699725" y="1974139"/>
                      <a:pt x="706678" y="1985093"/>
                    </a:cubicBezTo>
                    <a:cubicBezTo>
                      <a:pt x="718965" y="2004524"/>
                      <a:pt x="734682" y="2021669"/>
                      <a:pt x="748302" y="2040243"/>
                    </a:cubicBezTo>
                    <a:cubicBezTo>
                      <a:pt x="763066" y="2060341"/>
                      <a:pt x="777544" y="2080629"/>
                      <a:pt x="791260" y="2101394"/>
                    </a:cubicBezTo>
                    <a:cubicBezTo>
                      <a:pt x="802880" y="2119015"/>
                      <a:pt x="817263" y="2139970"/>
                      <a:pt x="824312" y="2157686"/>
                    </a:cubicBezTo>
                    <a:cubicBezTo>
                      <a:pt x="827265" y="2163401"/>
                      <a:pt x="830027" y="2169211"/>
                      <a:pt x="832599" y="2175117"/>
                    </a:cubicBezTo>
                    <a:cubicBezTo>
                      <a:pt x="798594" y="2152543"/>
                      <a:pt x="764780" y="2129969"/>
                      <a:pt x="729062" y="2110061"/>
                    </a:cubicBezTo>
                    <a:cubicBezTo>
                      <a:pt x="708964" y="2098917"/>
                      <a:pt x="686866" y="2091487"/>
                      <a:pt x="665244" y="2083677"/>
                    </a:cubicBezTo>
                    <a:cubicBezTo>
                      <a:pt x="656386" y="2080438"/>
                      <a:pt x="647337" y="2077771"/>
                      <a:pt x="638288" y="2075104"/>
                    </a:cubicBezTo>
                    <a:cubicBezTo>
                      <a:pt x="632669" y="2073390"/>
                      <a:pt x="624953" y="2072533"/>
                      <a:pt x="620001" y="2069770"/>
                    </a:cubicBezTo>
                    <a:cubicBezTo>
                      <a:pt x="606189" y="2062055"/>
                      <a:pt x="594474" y="2044529"/>
                      <a:pt x="584949" y="2031956"/>
                    </a:cubicBezTo>
                    <a:cubicBezTo>
                      <a:pt x="574661" y="2018431"/>
                      <a:pt x="566280" y="2003857"/>
                      <a:pt x="557802" y="1989189"/>
                    </a:cubicBezTo>
                    <a:cubicBezTo>
                      <a:pt x="555421" y="1985188"/>
                      <a:pt x="552183" y="1980997"/>
                      <a:pt x="550278" y="1976902"/>
                    </a:cubicBezTo>
                    <a:cubicBezTo>
                      <a:pt x="548754" y="1973758"/>
                      <a:pt x="548944" y="1969853"/>
                      <a:pt x="548849" y="1965948"/>
                    </a:cubicBezTo>
                    <a:cubicBezTo>
                      <a:pt x="548563" y="1948898"/>
                      <a:pt x="548373" y="1931848"/>
                      <a:pt x="544086" y="1915180"/>
                    </a:cubicBezTo>
                    <a:cubicBezTo>
                      <a:pt x="539705" y="1897939"/>
                      <a:pt x="531799" y="1883652"/>
                      <a:pt x="522464" y="1868793"/>
                    </a:cubicBezTo>
                    <a:cubicBezTo>
                      <a:pt x="513797" y="1854982"/>
                      <a:pt x="501795" y="1844885"/>
                      <a:pt x="490365" y="1833455"/>
                    </a:cubicBezTo>
                    <a:cubicBezTo>
                      <a:pt x="468267" y="1811357"/>
                      <a:pt x="439502" y="1793355"/>
                      <a:pt x="411784" y="1778686"/>
                    </a:cubicBezTo>
                    <a:cubicBezTo>
                      <a:pt x="407117" y="1776210"/>
                      <a:pt x="402354" y="1774114"/>
                      <a:pt x="397592" y="1772114"/>
                    </a:cubicBezTo>
                    <a:cubicBezTo>
                      <a:pt x="394353" y="1770685"/>
                      <a:pt x="376827" y="1761065"/>
                      <a:pt x="372922" y="1764780"/>
                    </a:cubicBezTo>
                    <a:cubicBezTo>
                      <a:pt x="369493" y="1768018"/>
                      <a:pt x="375875" y="1782592"/>
                      <a:pt x="376732" y="1786211"/>
                    </a:cubicBezTo>
                    <a:cubicBezTo>
                      <a:pt x="378732" y="1794593"/>
                      <a:pt x="380542" y="1803070"/>
                      <a:pt x="382256" y="1811452"/>
                    </a:cubicBezTo>
                    <a:cubicBezTo>
                      <a:pt x="390353" y="1850791"/>
                      <a:pt x="398830" y="1891272"/>
                      <a:pt x="419309" y="1926324"/>
                    </a:cubicBezTo>
                    <a:cubicBezTo>
                      <a:pt x="430072" y="1944707"/>
                      <a:pt x="443978" y="1962709"/>
                      <a:pt x="464267" y="1971091"/>
                    </a:cubicBezTo>
                    <a:cubicBezTo>
                      <a:pt x="486746" y="1980426"/>
                      <a:pt x="508272" y="1976044"/>
                      <a:pt x="531418" y="1977568"/>
                    </a:cubicBezTo>
                    <a:cubicBezTo>
                      <a:pt x="539038" y="1978045"/>
                      <a:pt x="539514" y="1980426"/>
                      <a:pt x="543705" y="1986998"/>
                    </a:cubicBezTo>
                    <a:cubicBezTo>
                      <a:pt x="546372" y="1991189"/>
                      <a:pt x="548944" y="1995380"/>
                      <a:pt x="551516" y="1999666"/>
                    </a:cubicBezTo>
                    <a:cubicBezTo>
                      <a:pt x="553992" y="2003762"/>
                      <a:pt x="556469" y="2007763"/>
                      <a:pt x="559040" y="2011763"/>
                    </a:cubicBezTo>
                    <a:cubicBezTo>
                      <a:pt x="570185" y="2029480"/>
                      <a:pt x="581329" y="2047291"/>
                      <a:pt x="594569" y="2063579"/>
                    </a:cubicBezTo>
                    <a:cubicBezTo>
                      <a:pt x="587615" y="2059960"/>
                      <a:pt x="577995" y="2059483"/>
                      <a:pt x="570185" y="2057483"/>
                    </a:cubicBezTo>
                    <a:cubicBezTo>
                      <a:pt x="559422" y="2054816"/>
                      <a:pt x="548849" y="2051578"/>
                      <a:pt x="538085" y="2048911"/>
                    </a:cubicBezTo>
                    <a:cubicBezTo>
                      <a:pt x="524560" y="2045482"/>
                      <a:pt x="511320" y="2041386"/>
                      <a:pt x="497985" y="2037290"/>
                    </a:cubicBezTo>
                    <a:cubicBezTo>
                      <a:pt x="463028" y="2026432"/>
                      <a:pt x="428548" y="2015478"/>
                      <a:pt x="396639" y="1997190"/>
                    </a:cubicBezTo>
                    <a:cubicBezTo>
                      <a:pt x="387590" y="1992046"/>
                      <a:pt x="378827" y="1986522"/>
                      <a:pt x="370064" y="1980997"/>
                    </a:cubicBezTo>
                    <a:cubicBezTo>
                      <a:pt x="365302" y="1978045"/>
                      <a:pt x="360635" y="1974997"/>
                      <a:pt x="356158" y="1971663"/>
                    </a:cubicBezTo>
                    <a:cubicBezTo>
                      <a:pt x="351110" y="1967853"/>
                      <a:pt x="342061" y="1962805"/>
                      <a:pt x="339965" y="1956994"/>
                    </a:cubicBezTo>
                    <a:cubicBezTo>
                      <a:pt x="337679" y="1950803"/>
                      <a:pt x="337679" y="1940516"/>
                      <a:pt x="337775" y="1934325"/>
                    </a:cubicBezTo>
                    <a:cubicBezTo>
                      <a:pt x="337870" y="1922990"/>
                      <a:pt x="337965" y="1911941"/>
                      <a:pt x="336155" y="1900702"/>
                    </a:cubicBezTo>
                    <a:cubicBezTo>
                      <a:pt x="328440" y="1851934"/>
                      <a:pt x="294912" y="1798308"/>
                      <a:pt x="247478" y="1779734"/>
                    </a:cubicBezTo>
                    <a:cubicBezTo>
                      <a:pt x="230523" y="1773067"/>
                      <a:pt x="210616" y="1768780"/>
                      <a:pt x="192518" y="1766685"/>
                    </a:cubicBezTo>
                    <a:cubicBezTo>
                      <a:pt x="184327" y="1765732"/>
                      <a:pt x="176040" y="1765828"/>
                      <a:pt x="167849" y="1765447"/>
                    </a:cubicBezTo>
                    <a:cubicBezTo>
                      <a:pt x="161276" y="1765066"/>
                      <a:pt x="142226" y="1758970"/>
                      <a:pt x="142703" y="1769066"/>
                    </a:cubicBezTo>
                    <a:cubicBezTo>
                      <a:pt x="143084" y="1777162"/>
                      <a:pt x="150704" y="1788402"/>
                      <a:pt x="153752" y="1795831"/>
                    </a:cubicBezTo>
                    <a:cubicBezTo>
                      <a:pt x="158133" y="1806404"/>
                      <a:pt x="162991" y="1816786"/>
                      <a:pt x="167563" y="1827264"/>
                    </a:cubicBezTo>
                    <a:cubicBezTo>
                      <a:pt x="176993" y="1848600"/>
                      <a:pt x="185946" y="1869079"/>
                      <a:pt x="199472" y="1888319"/>
                    </a:cubicBezTo>
                    <a:cubicBezTo>
                      <a:pt x="215664" y="1911274"/>
                      <a:pt x="236333" y="1932610"/>
                      <a:pt x="262908" y="1943183"/>
                    </a:cubicBezTo>
                    <a:cubicBezTo>
                      <a:pt x="271100" y="1946422"/>
                      <a:pt x="279577" y="1949755"/>
                      <a:pt x="288054" y="1952137"/>
                    </a:cubicBezTo>
                    <a:cubicBezTo>
                      <a:pt x="298913" y="1955185"/>
                      <a:pt x="310343" y="1955089"/>
                      <a:pt x="321201" y="1958042"/>
                    </a:cubicBezTo>
                    <a:cubicBezTo>
                      <a:pt x="326916" y="1959566"/>
                      <a:pt x="330250" y="1964138"/>
                      <a:pt x="334822" y="1968329"/>
                    </a:cubicBezTo>
                    <a:cubicBezTo>
                      <a:pt x="341966" y="1975187"/>
                      <a:pt x="348919" y="1982045"/>
                      <a:pt x="357110" y="1987665"/>
                    </a:cubicBezTo>
                    <a:cubicBezTo>
                      <a:pt x="378542" y="2002524"/>
                      <a:pt x="400640" y="2015383"/>
                      <a:pt x="425405" y="2024241"/>
                    </a:cubicBezTo>
                    <a:cubicBezTo>
                      <a:pt x="468362" y="2039576"/>
                      <a:pt x="511130" y="2055197"/>
                      <a:pt x="554468" y="2069389"/>
                    </a:cubicBezTo>
                    <a:cubicBezTo>
                      <a:pt x="572280" y="2075200"/>
                      <a:pt x="590759" y="2078248"/>
                      <a:pt x="608570" y="2083867"/>
                    </a:cubicBezTo>
                    <a:cubicBezTo>
                      <a:pt x="624953" y="2089011"/>
                      <a:pt x="640289" y="2096821"/>
                      <a:pt x="656481" y="2102727"/>
                    </a:cubicBezTo>
                    <a:cubicBezTo>
                      <a:pt x="663720" y="2105394"/>
                      <a:pt x="671150" y="2107490"/>
                      <a:pt x="678198" y="2110347"/>
                    </a:cubicBezTo>
                    <a:cubicBezTo>
                      <a:pt x="669911" y="2110347"/>
                      <a:pt x="661625" y="2112442"/>
                      <a:pt x="653528" y="2113871"/>
                    </a:cubicBezTo>
                    <a:cubicBezTo>
                      <a:pt x="640384" y="2116157"/>
                      <a:pt x="627049" y="2118157"/>
                      <a:pt x="614190" y="2121872"/>
                    </a:cubicBezTo>
                    <a:cubicBezTo>
                      <a:pt x="603046" y="2125111"/>
                      <a:pt x="592378" y="2129397"/>
                      <a:pt x="581615" y="2133588"/>
                    </a:cubicBezTo>
                    <a:cubicBezTo>
                      <a:pt x="578090" y="2134921"/>
                      <a:pt x="574471" y="2136255"/>
                      <a:pt x="570947" y="2137588"/>
                    </a:cubicBezTo>
                    <a:cubicBezTo>
                      <a:pt x="566565" y="2139208"/>
                      <a:pt x="555897" y="2145875"/>
                      <a:pt x="551516" y="2145304"/>
                    </a:cubicBezTo>
                    <a:cubicBezTo>
                      <a:pt x="549230" y="2145018"/>
                      <a:pt x="544848" y="2140732"/>
                      <a:pt x="542753" y="2139589"/>
                    </a:cubicBezTo>
                    <a:cubicBezTo>
                      <a:pt x="539324" y="2137588"/>
                      <a:pt x="535895" y="2135779"/>
                      <a:pt x="532275" y="2134255"/>
                    </a:cubicBezTo>
                    <a:cubicBezTo>
                      <a:pt x="521131" y="2129587"/>
                      <a:pt x="508653" y="2126349"/>
                      <a:pt x="496556" y="2126349"/>
                    </a:cubicBezTo>
                    <a:cubicBezTo>
                      <a:pt x="469791" y="2126444"/>
                      <a:pt x="441407" y="2137398"/>
                      <a:pt x="418261" y="2150066"/>
                    </a:cubicBezTo>
                    <a:cubicBezTo>
                      <a:pt x="389876" y="2165687"/>
                      <a:pt x="360063" y="2185975"/>
                      <a:pt x="337584" y="2209693"/>
                    </a:cubicBezTo>
                    <a:cubicBezTo>
                      <a:pt x="329678" y="2218075"/>
                      <a:pt x="321963" y="2226647"/>
                      <a:pt x="314058" y="2235124"/>
                    </a:cubicBezTo>
                    <a:cubicBezTo>
                      <a:pt x="309295" y="2240173"/>
                      <a:pt x="292340" y="2250365"/>
                      <a:pt x="299579" y="2257127"/>
                    </a:cubicBezTo>
                    <a:cubicBezTo>
                      <a:pt x="302913" y="2260270"/>
                      <a:pt x="310724" y="2261032"/>
                      <a:pt x="314819" y="2262175"/>
                    </a:cubicBezTo>
                    <a:cubicBezTo>
                      <a:pt x="323011" y="2264461"/>
                      <a:pt x="331107" y="2266843"/>
                      <a:pt x="339394" y="2268748"/>
                    </a:cubicBezTo>
                    <a:cubicBezTo>
                      <a:pt x="383780" y="2279225"/>
                      <a:pt x="438073" y="2280749"/>
                      <a:pt x="479792" y="2259794"/>
                    </a:cubicBezTo>
                    <a:cubicBezTo>
                      <a:pt x="510082" y="2244459"/>
                      <a:pt x="530751" y="2221218"/>
                      <a:pt x="546944" y="2191976"/>
                    </a:cubicBezTo>
                    <a:cubicBezTo>
                      <a:pt x="552183" y="2182546"/>
                      <a:pt x="557231" y="2173783"/>
                      <a:pt x="559517" y="2163115"/>
                    </a:cubicBezTo>
                    <a:cubicBezTo>
                      <a:pt x="560469" y="2158544"/>
                      <a:pt x="559422" y="2159496"/>
                      <a:pt x="562469" y="2156924"/>
                    </a:cubicBezTo>
                    <a:cubicBezTo>
                      <a:pt x="564851" y="2154829"/>
                      <a:pt x="568756" y="2153305"/>
                      <a:pt x="571613" y="2151876"/>
                    </a:cubicBezTo>
                    <a:cubicBezTo>
                      <a:pt x="589806" y="2142732"/>
                      <a:pt x="609809" y="2136731"/>
                      <a:pt x="629526" y="2131874"/>
                    </a:cubicBezTo>
                    <a:cubicBezTo>
                      <a:pt x="651433" y="2126540"/>
                      <a:pt x="674769" y="2123873"/>
                      <a:pt x="697344" y="2124825"/>
                    </a:cubicBezTo>
                    <a:cubicBezTo>
                      <a:pt x="703059" y="2125111"/>
                      <a:pt x="707630" y="2125206"/>
                      <a:pt x="712679" y="2127587"/>
                    </a:cubicBezTo>
                    <a:cubicBezTo>
                      <a:pt x="718108" y="2130064"/>
                      <a:pt x="723251" y="2133778"/>
                      <a:pt x="728395" y="2136922"/>
                    </a:cubicBezTo>
                    <a:cubicBezTo>
                      <a:pt x="736777" y="2142065"/>
                      <a:pt x="745254" y="2147113"/>
                      <a:pt x="753732" y="2152257"/>
                    </a:cubicBezTo>
                    <a:cubicBezTo>
                      <a:pt x="780497" y="2168545"/>
                      <a:pt x="804881" y="2187690"/>
                      <a:pt x="827741" y="2209026"/>
                    </a:cubicBezTo>
                    <a:cubicBezTo>
                      <a:pt x="837647" y="2218265"/>
                      <a:pt x="848601" y="2229314"/>
                      <a:pt x="856506" y="2240363"/>
                    </a:cubicBezTo>
                    <a:cubicBezTo>
                      <a:pt x="870222" y="2259699"/>
                      <a:pt x="880795" y="2281987"/>
                      <a:pt x="890796" y="2303419"/>
                    </a:cubicBezTo>
                    <a:cubicBezTo>
                      <a:pt x="918133" y="2362188"/>
                      <a:pt x="935183" y="2427625"/>
                      <a:pt x="946613" y="2491156"/>
                    </a:cubicBezTo>
                    <a:cubicBezTo>
                      <a:pt x="959281" y="2561642"/>
                      <a:pt x="964329" y="2632888"/>
                      <a:pt x="967092" y="2704421"/>
                    </a:cubicBezTo>
                    <a:cubicBezTo>
                      <a:pt x="969568" y="2770429"/>
                      <a:pt x="972616" y="2836819"/>
                      <a:pt x="971663" y="2902922"/>
                    </a:cubicBezTo>
                    <a:cubicBezTo>
                      <a:pt x="971187" y="2937022"/>
                      <a:pt x="972044" y="2970931"/>
                      <a:pt x="972044" y="3005030"/>
                    </a:cubicBezTo>
                    <a:cubicBezTo>
                      <a:pt x="972044" y="3052846"/>
                      <a:pt x="967853" y="3100852"/>
                      <a:pt x="963567" y="3148477"/>
                    </a:cubicBezTo>
                    <a:cubicBezTo>
                      <a:pt x="961567" y="3170956"/>
                      <a:pt x="958614" y="3193339"/>
                      <a:pt x="956328" y="3215819"/>
                    </a:cubicBezTo>
                    <a:cubicBezTo>
                      <a:pt x="954233" y="3235916"/>
                      <a:pt x="952804" y="3257633"/>
                      <a:pt x="947851" y="3277255"/>
                    </a:cubicBezTo>
                    <a:cubicBezTo>
                      <a:pt x="942136" y="3299829"/>
                      <a:pt x="929563" y="3325928"/>
                      <a:pt x="910513" y="3340215"/>
                    </a:cubicBezTo>
                    <a:cubicBezTo>
                      <a:pt x="902131" y="3346502"/>
                      <a:pt x="892701" y="3350216"/>
                      <a:pt x="883748" y="3344501"/>
                    </a:cubicBezTo>
                    <a:cubicBezTo>
                      <a:pt x="802785" y="3292304"/>
                      <a:pt x="731824" y="3225534"/>
                      <a:pt x="662387" y="3159145"/>
                    </a:cubicBezTo>
                    <a:cubicBezTo>
                      <a:pt x="657910" y="3154859"/>
                      <a:pt x="649433" y="3149239"/>
                      <a:pt x="646575" y="3143714"/>
                    </a:cubicBezTo>
                    <a:cubicBezTo>
                      <a:pt x="640765" y="3132475"/>
                      <a:pt x="644384" y="3143905"/>
                      <a:pt x="644670" y="3140380"/>
                    </a:cubicBezTo>
                    <a:cubicBezTo>
                      <a:pt x="644861" y="3138571"/>
                      <a:pt x="650099" y="3133332"/>
                      <a:pt x="651338" y="3131713"/>
                    </a:cubicBezTo>
                    <a:cubicBezTo>
                      <a:pt x="654195" y="3127808"/>
                      <a:pt x="657053" y="3123807"/>
                      <a:pt x="659910" y="3119902"/>
                    </a:cubicBezTo>
                    <a:cubicBezTo>
                      <a:pt x="673531" y="3101328"/>
                      <a:pt x="686961" y="3082087"/>
                      <a:pt x="697153" y="3061323"/>
                    </a:cubicBezTo>
                    <a:cubicBezTo>
                      <a:pt x="706107" y="3043130"/>
                      <a:pt x="712965" y="3022556"/>
                      <a:pt x="718203" y="3003030"/>
                    </a:cubicBezTo>
                    <a:cubicBezTo>
                      <a:pt x="720299" y="2995410"/>
                      <a:pt x="722394" y="2987790"/>
                      <a:pt x="724585" y="2980265"/>
                    </a:cubicBezTo>
                    <a:cubicBezTo>
                      <a:pt x="727728" y="2969121"/>
                      <a:pt x="728395" y="2956929"/>
                      <a:pt x="731824" y="2946070"/>
                    </a:cubicBezTo>
                    <a:cubicBezTo>
                      <a:pt x="733062" y="2942356"/>
                      <a:pt x="735539" y="2940260"/>
                      <a:pt x="738111" y="2937022"/>
                    </a:cubicBezTo>
                    <a:cubicBezTo>
                      <a:pt x="744302" y="2929211"/>
                      <a:pt x="749350" y="2919591"/>
                      <a:pt x="753065" y="2910352"/>
                    </a:cubicBezTo>
                    <a:cubicBezTo>
                      <a:pt x="762590" y="2886635"/>
                      <a:pt x="766495" y="2862346"/>
                      <a:pt x="764209" y="2837009"/>
                    </a:cubicBezTo>
                    <a:cubicBezTo>
                      <a:pt x="759447" y="2782812"/>
                      <a:pt x="733348" y="2731186"/>
                      <a:pt x="694391" y="2693277"/>
                    </a:cubicBezTo>
                    <a:cubicBezTo>
                      <a:pt x="688961" y="2687943"/>
                      <a:pt x="684199" y="2681942"/>
                      <a:pt x="678770" y="2676703"/>
                    </a:cubicBezTo>
                    <a:cubicBezTo>
                      <a:pt x="674103" y="2672131"/>
                      <a:pt x="671055" y="2669179"/>
                      <a:pt x="666959" y="2676418"/>
                    </a:cubicBezTo>
                    <a:cubicBezTo>
                      <a:pt x="663053" y="2683085"/>
                      <a:pt x="661911" y="2693848"/>
                      <a:pt x="660005" y="2701278"/>
                    </a:cubicBezTo>
                    <a:cubicBezTo>
                      <a:pt x="657624" y="2710422"/>
                      <a:pt x="655529" y="2719566"/>
                      <a:pt x="653433" y="2728710"/>
                    </a:cubicBezTo>
                    <a:cubicBezTo>
                      <a:pt x="645337" y="2763762"/>
                      <a:pt x="637336" y="2799481"/>
                      <a:pt x="640574" y="2835771"/>
                    </a:cubicBezTo>
                    <a:cubicBezTo>
                      <a:pt x="642956" y="2862917"/>
                      <a:pt x="649814" y="2889206"/>
                      <a:pt x="665530" y="2911780"/>
                    </a:cubicBezTo>
                    <a:cubicBezTo>
                      <a:pt x="672674" y="2922068"/>
                      <a:pt x="682008" y="2931497"/>
                      <a:pt x="692867" y="2937974"/>
                    </a:cubicBezTo>
                    <a:cubicBezTo>
                      <a:pt x="698296" y="2941213"/>
                      <a:pt x="705249" y="2942832"/>
                      <a:pt x="710393" y="2946166"/>
                    </a:cubicBezTo>
                    <a:cubicBezTo>
                      <a:pt x="713917" y="2948452"/>
                      <a:pt x="713631" y="2947499"/>
                      <a:pt x="713631" y="2952357"/>
                    </a:cubicBezTo>
                    <a:cubicBezTo>
                      <a:pt x="713631" y="2956167"/>
                      <a:pt x="713155" y="2960072"/>
                      <a:pt x="712679" y="2963882"/>
                    </a:cubicBezTo>
                    <a:cubicBezTo>
                      <a:pt x="707916" y="3000839"/>
                      <a:pt x="690771" y="3034081"/>
                      <a:pt x="674484" y="3066943"/>
                    </a:cubicBezTo>
                    <a:cubicBezTo>
                      <a:pt x="666768" y="3082564"/>
                      <a:pt x="657910" y="3097137"/>
                      <a:pt x="646385" y="3110281"/>
                    </a:cubicBezTo>
                    <a:cubicBezTo>
                      <a:pt x="644384" y="3112568"/>
                      <a:pt x="633050" y="3126855"/>
                      <a:pt x="630192" y="3126664"/>
                    </a:cubicBezTo>
                    <a:cubicBezTo>
                      <a:pt x="627811" y="3126474"/>
                      <a:pt x="621715" y="3118568"/>
                      <a:pt x="619810" y="3116663"/>
                    </a:cubicBezTo>
                    <a:cubicBezTo>
                      <a:pt x="598188" y="3094375"/>
                      <a:pt x="577424" y="3071896"/>
                      <a:pt x="557707" y="3047893"/>
                    </a:cubicBezTo>
                    <a:cubicBezTo>
                      <a:pt x="520274" y="3002078"/>
                      <a:pt x="481888" y="2956453"/>
                      <a:pt x="452170" y="2905018"/>
                    </a:cubicBezTo>
                    <a:cubicBezTo>
                      <a:pt x="417309" y="2844629"/>
                      <a:pt x="391496" y="2780145"/>
                      <a:pt x="375875" y="2712136"/>
                    </a:cubicBezTo>
                    <a:cubicBezTo>
                      <a:pt x="370541" y="2688705"/>
                      <a:pt x="366445" y="2664988"/>
                      <a:pt x="363683" y="2641080"/>
                    </a:cubicBezTo>
                    <a:cubicBezTo>
                      <a:pt x="362444" y="2630412"/>
                      <a:pt x="357301" y="2615553"/>
                      <a:pt x="359682" y="2605266"/>
                    </a:cubicBezTo>
                    <a:cubicBezTo>
                      <a:pt x="360444" y="2601932"/>
                      <a:pt x="363302" y="2598408"/>
                      <a:pt x="364635" y="2595360"/>
                    </a:cubicBezTo>
                    <a:cubicBezTo>
                      <a:pt x="367778" y="2588407"/>
                      <a:pt x="370445" y="2580977"/>
                      <a:pt x="372541" y="2573643"/>
                    </a:cubicBezTo>
                    <a:cubicBezTo>
                      <a:pt x="379685" y="2547926"/>
                      <a:pt x="379304" y="2517255"/>
                      <a:pt x="367207" y="2493061"/>
                    </a:cubicBezTo>
                    <a:cubicBezTo>
                      <a:pt x="355872" y="2470583"/>
                      <a:pt x="335965" y="2456200"/>
                      <a:pt x="315772" y="2442103"/>
                    </a:cubicBezTo>
                    <a:cubicBezTo>
                      <a:pt x="307104" y="2436007"/>
                      <a:pt x="298722" y="2429435"/>
                      <a:pt x="288911" y="2425434"/>
                    </a:cubicBezTo>
                    <a:cubicBezTo>
                      <a:pt x="282434" y="2422767"/>
                      <a:pt x="275481" y="2421148"/>
                      <a:pt x="268814" y="2418957"/>
                    </a:cubicBezTo>
                    <a:cubicBezTo>
                      <a:pt x="263003" y="2417052"/>
                      <a:pt x="257669" y="2414861"/>
                      <a:pt x="252240" y="2411908"/>
                    </a:cubicBezTo>
                    <a:cubicBezTo>
                      <a:pt x="250526" y="2410956"/>
                      <a:pt x="248049" y="2408861"/>
                      <a:pt x="246239" y="2408384"/>
                    </a:cubicBezTo>
                    <a:cubicBezTo>
                      <a:pt x="236619" y="2405812"/>
                      <a:pt x="239477" y="2419814"/>
                      <a:pt x="239762" y="2426196"/>
                    </a:cubicBezTo>
                    <a:cubicBezTo>
                      <a:pt x="242239" y="2473630"/>
                      <a:pt x="242525" y="2523637"/>
                      <a:pt x="266337" y="2566404"/>
                    </a:cubicBezTo>
                    <a:cubicBezTo>
                      <a:pt x="275195" y="2582311"/>
                      <a:pt x="287483" y="2594408"/>
                      <a:pt x="302151" y="2604885"/>
                    </a:cubicBezTo>
                    <a:cubicBezTo>
                      <a:pt x="307961" y="2609076"/>
                      <a:pt x="313486" y="2613077"/>
                      <a:pt x="320249" y="2615458"/>
                    </a:cubicBezTo>
                    <a:cubicBezTo>
                      <a:pt x="326059" y="2617458"/>
                      <a:pt x="337489" y="2621363"/>
                      <a:pt x="343966" y="2619935"/>
                    </a:cubicBezTo>
                    <a:cubicBezTo>
                      <a:pt x="342061" y="2630888"/>
                      <a:pt x="346252" y="2646890"/>
                      <a:pt x="347585" y="2658035"/>
                    </a:cubicBezTo>
                    <a:cubicBezTo>
                      <a:pt x="349109" y="2670988"/>
                      <a:pt x="351872" y="2683561"/>
                      <a:pt x="354539" y="2696325"/>
                    </a:cubicBezTo>
                    <a:cubicBezTo>
                      <a:pt x="362921" y="2735282"/>
                      <a:pt x="373779" y="2773763"/>
                      <a:pt x="389781" y="2810435"/>
                    </a:cubicBezTo>
                    <a:cubicBezTo>
                      <a:pt x="386352" y="2806529"/>
                      <a:pt x="377684" y="2805196"/>
                      <a:pt x="373017" y="2803862"/>
                    </a:cubicBezTo>
                    <a:cubicBezTo>
                      <a:pt x="363778" y="2801100"/>
                      <a:pt x="354443" y="2799100"/>
                      <a:pt x="345014" y="2797100"/>
                    </a:cubicBezTo>
                    <a:cubicBezTo>
                      <a:pt x="333393" y="2794623"/>
                      <a:pt x="331584" y="2785193"/>
                      <a:pt x="325964" y="2776145"/>
                    </a:cubicBezTo>
                    <a:cubicBezTo>
                      <a:pt x="310438" y="2750903"/>
                      <a:pt x="285006" y="2730996"/>
                      <a:pt x="259765" y="2716042"/>
                    </a:cubicBezTo>
                    <a:cubicBezTo>
                      <a:pt x="255669" y="2713565"/>
                      <a:pt x="251573" y="2711089"/>
                      <a:pt x="247192" y="2709184"/>
                    </a:cubicBezTo>
                    <a:cubicBezTo>
                      <a:pt x="245096" y="2708231"/>
                      <a:pt x="241096" y="2707660"/>
                      <a:pt x="239477" y="2706136"/>
                    </a:cubicBezTo>
                    <a:cubicBezTo>
                      <a:pt x="236333" y="2703183"/>
                      <a:pt x="237667" y="2698039"/>
                      <a:pt x="237095" y="2693086"/>
                    </a:cubicBezTo>
                    <a:cubicBezTo>
                      <a:pt x="236048" y="2684323"/>
                      <a:pt x="233381" y="2675846"/>
                      <a:pt x="230428" y="2667560"/>
                    </a:cubicBezTo>
                    <a:cubicBezTo>
                      <a:pt x="220331" y="2639461"/>
                      <a:pt x="202805" y="2616886"/>
                      <a:pt x="181469" y="2596027"/>
                    </a:cubicBezTo>
                    <a:cubicBezTo>
                      <a:pt x="160133" y="2575167"/>
                      <a:pt x="134225" y="2562118"/>
                      <a:pt x="107174" y="2550593"/>
                    </a:cubicBezTo>
                    <a:cubicBezTo>
                      <a:pt x="96983" y="2546211"/>
                      <a:pt x="88124" y="2540305"/>
                      <a:pt x="78504" y="2535067"/>
                    </a:cubicBezTo>
                    <a:cubicBezTo>
                      <a:pt x="68217" y="2529447"/>
                      <a:pt x="73932" y="2543258"/>
                      <a:pt x="75456" y="2548783"/>
                    </a:cubicBezTo>
                    <a:cubicBezTo>
                      <a:pt x="93173" y="2613362"/>
                      <a:pt x="108794" y="2694039"/>
                      <a:pt x="182041" y="2717566"/>
                    </a:cubicBezTo>
                    <a:cubicBezTo>
                      <a:pt x="197948" y="2722709"/>
                      <a:pt x="213188" y="2724614"/>
                      <a:pt x="229666" y="2721757"/>
                    </a:cubicBezTo>
                    <a:cubicBezTo>
                      <a:pt x="242239" y="2719566"/>
                      <a:pt x="259765" y="2733092"/>
                      <a:pt x="270242" y="2739759"/>
                    </a:cubicBezTo>
                    <a:cubicBezTo>
                      <a:pt x="291483" y="2753189"/>
                      <a:pt x="306628" y="2772239"/>
                      <a:pt x="316820" y="2794718"/>
                    </a:cubicBezTo>
                    <a:cubicBezTo>
                      <a:pt x="313200" y="2791099"/>
                      <a:pt x="299389" y="2793575"/>
                      <a:pt x="294626" y="2793670"/>
                    </a:cubicBezTo>
                    <a:cubicBezTo>
                      <a:pt x="291102" y="2793670"/>
                      <a:pt x="287578" y="2793766"/>
                      <a:pt x="284054" y="2793766"/>
                    </a:cubicBezTo>
                    <a:cubicBezTo>
                      <a:pt x="274433" y="2793861"/>
                      <a:pt x="262241" y="2797195"/>
                      <a:pt x="254240" y="2791480"/>
                    </a:cubicBezTo>
                    <a:cubicBezTo>
                      <a:pt x="240620" y="2781669"/>
                      <a:pt x="228237" y="2771953"/>
                      <a:pt x="211568" y="2767762"/>
                    </a:cubicBezTo>
                    <a:cubicBezTo>
                      <a:pt x="199186" y="2764619"/>
                      <a:pt x="186327" y="2763286"/>
                      <a:pt x="173564" y="2762905"/>
                    </a:cubicBezTo>
                    <a:cubicBezTo>
                      <a:pt x="121367" y="2761381"/>
                      <a:pt x="71741" y="2781193"/>
                      <a:pt x="29355" y="2810244"/>
                    </a:cubicBezTo>
                    <a:cubicBezTo>
                      <a:pt x="25164" y="2813102"/>
                      <a:pt x="21068" y="2816150"/>
                      <a:pt x="16973" y="2819102"/>
                    </a:cubicBezTo>
                    <a:cubicBezTo>
                      <a:pt x="14496" y="2820912"/>
                      <a:pt x="8019" y="2823960"/>
                      <a:pt x="7257" y="2827294"/>
                    </a:cubicBezTo>
                    <a:cubicBezTo>
                      <a:pt x="5543" y="2834628"/>
                      <a:pt x="23735" y="2843677"/>
                      <a:pt x="29546" y="2847677"/>
                    </a:cubicBezTo>
                    <a:cubicBezTo>
                      <a:pt x="54215" y="2864441"/>
                      <a:pt x="82219" y="2881491"/>
                      <a:pt x="112318" y="2885777"/>
                    </a:cubicBezTo>
                    <a:cubicBezTo>
                      <a:pt x="142131" y="2889968"/>
                      <a:pt x="174802" y="2881777"/>
                      <a:pt x="201186" y="2867680"/>
                    </a:cubicBezTo>
                    <a:cubicBezTo>
                      <a:pt x="222617" y="2856154"/>
                      <a:pt x="238905" y="2839962"/>
                      <a:pt x="253764" y="2821103"/>
                    </a:cubicBezTo>
                    <a:cubicBezTo>
                      <a:pt x="266051" y="2805481"/>
                      <a:pt x="287864" y="2807196"/>
                      <a:pt x="306247" y="2807196"/>
                    </a:cubicBezTo>
                    <a:cubicBezTo>
                      <a:pt x="326154" y="2807196"/>
                      <a:pt x="345014" y="2810720"/>
                      <a:pt x="363492" y="2818245"/>
                    </a:cubicBezTo>
                    <a:cubicBezTo>
                      <a:pt x="377113" y="2823770"/>
                      <a:pt x="390162" y="2830723"/>
                      <a:pt x="401021" y="2840819"/>
                    </a:cubicBezTo>
                    <a:cubicBezTo>
                      <a:pt x="408450" y="2847677"/>
                      <a:pt x="411593" y="2857297"/>
                      <a:pt x="415975" y="2866251"/>
                    </a:cubicBezTo>
                    <a:cubicBezTo>
                      <a:pt x="426643" y="2887778"/>
                      <a:pt x="438835" y="2908256"/>
                      <a:pt x="451979" y="2928449"/>
                    </a:cubicBezTo>
                    <a:cubicBezTo>
                      <a:pt x="468934" y="2954643"/>
                      <a:pt x="485031" y="2981694"/>
                      <a:pt x="503414" y="3007030"/>
                    </a:cubicBezTo>
                    <a:cubicBezTo>
                      <a:pt x="536181" y="3052179"/>
                      <a:pt x="569423" y="3097042"/>
                      <a:pt x="601998" y="3142381"/>
                    </a:cubicBezTo>
                    <a:cubicBezTo>
                      <a:pt x="660958" y="3224581"/>
                      <a:pt x="721823" y="3306687"/>
                      <a:pt x="766781" y="3397651"/>
                    </a:cubicBezTo>
                    <a:cubicBezTo>
                      <a:pt x="771162" y="3406509"/>
                      <a:pt x="775544" y="3415272"/>
                      <a:pt x="780021" y="3424035"/>
                    </a:cubicBezTo>
                    <a:cubicBezTo>
                      <a:pt x="734110" y="3422130"/>
                      <a:pt x="687819" y="3415748"/>
                      <a:pt x="643718" y="3402604"/>
                    </a:cubicBezTo>
                    <a:cubicBezTo>
                      <a:pt x="630954" y="3398794"/>
                      <a:pt x="617715" y="3395365"/>
                      <a:pt x="605523" y="3389936"/>
                    </a:cubicBezTo>
                    <a:cubicBezTo>
                      <a:pt x="599998" y="3387554"/>
                      <a:pt x="594664" y="3384602"/>
                      <a:pt x="589425" y="3381649"/>
                    </a:cubicBezTo>
                    <a:cubicBezTo>
                      <a:pt x="584186" y="3378696"/>
                      <a:pt x="572566" y="3374695"/>
                      <a:pt x="569042" y="3369933"/>
                    </a:cubicBezTo>
                    <a:cubicBezTo>
                      <a:pt x="567327" y="3367647"/>
                      <a:pt x="567708" y="3362503"/>
                      <a:pt x="567137" y="3359836"/>
                    </a:cubicBezTo>
                    <a:cubicBezTo>
                      <a:pt x="566470" y="3356693"/>
                      <a:pt x="565422" y="3353550"/>
                      <a:pt x="564565" y="3350502"/>
                    </a:cubicBezTo>
                    <a:cubicBezTo>
                      <a:pt x="562088" y="3340691"/>
                      <a:pt x="559612" y="3330976"/>
                      <a:pt x="556469" y="3321260"/>
                    </a:cubicBezTo>
                    <a:cubicBezTo>
                      <a:pt x="550278" y="3302591"/>
                      <a:pt x="541324" y="3287923"/>
                      <a:pt x="527417" y="3274111"/>
                    </a:cubicBezTo>
                    <a:cubicBezTo>
                      <a:pt x="515035" y="3261920"/>
                      <a:pt x="500938" y="3252109"/>
                      <a:pt x="485508" y="3244298"/>
                    </a:cubicBezTo>
                    <a:cubicBezTo>
                      <a:pt x="460457" y="3231820"/>
                      <a:pt x="432072" y="3223915"/>
                      <a:pt x="404354" y="3220771"/>
                    </a:cubicBezTo>
                    <a:cubicBezTo>
                      <a:pt x="393877" y="3219628"/>
                      <a:pt x="383304" y="3218295"/>
                      <a:pt x="372731" y="3217914"/>
                    </a:cubicBezTo>
                    <a:cubicBezTo>
                      <a:pt x="367016" y="3217723"/>
                      <a:pt x="361301" y="3217343"/>
                      <a:pt x="355586" y="3216866"/>
                    </a:cubicBezTo>
                    <a:cubicBezTo>
                      <a:pt x="352919" y="3216676"/>
                      <a:pt x="346347" y="3215056"/>
                      <a:pt x="344156" y="3216580"/>
                    </a:cubicBezTo>
                    <a:cubicBezTo>
                      <a:pt x="337870" y="3220771"/>
                      <a:pt x="351300" y="3245155"/>
                      <a:pt x="353777" y="3251061"/>
                    </a:cubicBezTo>
                    <a:cubicBezTo>
                      <a:pt x="359682" y="3265348"/>
                      <a:pt x="366540" y="3279255"/>
                      <a:pt x="374446" y="3292495"/>
                    </a:cubicBezTo>
                    <a:cubicBezTo>
                      <a:pt x="385685" y="3311259"/>
                      <a:pt x="398449" y="3328690"/>
                      <a:pt x="414070" y="3344120"/>
                    </a:cubicBezTo>
                    <a:cubicBezTo>
                      <a:pt x="447122" y="3376886"/>
                      <a:pt x="495604" y="3403937"/>
                      <a:pt x="543419" y="3391936"/>
                    </a:cubicBezTo>
                    <a:cubicBezTo>
                      <a:pt x="548563" y="3390602"/>
                      <a:pt x="553326" y="3388983"/>
                      <a:pt x="558088" y="3386602"/>
                    </a:cubicBezTo>
                    <a:cubicBezTo>
                      <a:pt x="563041" y="3384125"/>
                      <a:pt x="562279" y="3383839"/>
                      <a:pt x="567423" y="3385268"/>
                    </a:cubicBezTo>
                    <a:cubicBezTo>
                      <a:pt x="569994" y="3385935"/>
                      <a:pt x="572947" y="3388316"/>
                      <a:pt x="575328" y="3389650"/>
                    </a:cubicBezTo>
                    <a:cubicBezTo>
                      <a:pt x="587711" y="3396508"/>
                      <a:pt x="600284" y="3402318"/>
                      <a:pt x="613524" y="3407366"/>
                    </a:cubicBezTo>
                    <a:cubicBezTo>
                      <a:pt x="640098" y="3417558"/>
                      <a:pt x="666768" y="3425654"/>
                      <a:pt x="694867" y="3430417"/>
                    </a:cubicBezTo>
                    <a:cubicBezTo>
                      <a:pt x="712488" y="3433370"/>
                      <a:pt x="730205" y="3435846"/>
                      <a:pt x="747921" y="3438227"/>
                    </a:cubicBezTo>
                    <a:cubicBezTo>
                      <a:pt x="758399" y="3439656"/>
                      <a:pt x="768972" y="3440704"/>
                      <a:pt x="779544" y="3441752"/>
                    </a:cubicBezTo>
                    <a:cubicBezTo>
                      <a:pt x="785450" y="3442323"/>
                      <a:pt x="788593" y="3441370"/>
                      <a:pt x="791451" y="3446609"/>
                    </a:cubicBezTo>
                    <a:cubicBezTo>
                      <a:pt x="811548" y="3482328"/>
                      <a:pt x="823074" y="3521190"/>
                      <a:pt x="835456" y="3559957"/>
                    </a:cubicBezTo>
                    <a:cubicBezTo>
                      <a:pt x="843457" y="3584912"/>
                      <a:pt x="848886" y="3610344"/>
                      <a:pt x="856030" y="3635490"/>
                    </a:cubicBezTo>
                    <a:cubicBezTo>
                      <a:pt x="863840" y="3663303"/>
                      <a:pt x="871080" y="3690926"/>
                      <a:pt x="876985" y="3719310"/>
                    </a:cubicBezTo>
                    <a:cubicBezTo>
                      <a:pt x="885081" y="3758458"/>
                      <a:pt x="891939" y="3797225"/>
                      <a:pt x="896130" y="3837039"/>
                    </a:cubicBezTo>
                    <a:cubicBezTo>
                      <a:pt x="901464" y="3888284"/>
                      <a:pt x="905655" y="3939147"/>
                      <a:pt x="907465" y="3990677"/>
                    </a:cubicBezTo>
                    <a:cubicBezTo>
                      <a:pt x="909275" y="4044970"/>
                      <a:pt x="911751" y="4099358"/>
                      <a:pt x="912132" y="4153650"/>
                    </a:cubicBezTo>
                    <a:cubicBezTo>
                      <a:pt x="912418" y="4193274"/>
                      <a:pt x="910703" y="4232708"/>
                      <a:pt x="909180" y="4272236"/>
                    </a:cubicBezTo>
                    <a:cubicBezTo>
                      <a:pt x="907179" y="4326243"/>
                      <a:pt x="903750" y="4380631"/>
                      <a:pt x="899655" y="4434447"/>
                    </a:cubicBezTo>
                    <a:cubicBezTo>
                      <a:pt x="890415" y="4554557"/>
                      <a:pt x="861840" y="4674287"/>
                      <a:pt x="808881" y="4782777"/>
                    </a:cubicBezTo>
                    <a:cubicBezTo>
                      <a:pt x="788498" y="4824496"/>
                      <a:pt x="767733" y="4865644"/>
                      <a:pt x="739634" y="4902887"/>
                    </a:cubicBezTo>
                    <a:cubicBezTo>
                      <a:pt x="734586" y="4909554"/>
                      <a:pt x="729538" y="4916317"/>
                      <a:pt x="724490" y="4922984"/>
                    </a:cubicBezTo>
                    <a:cubicBezTo>
                      <a:pt x="714965" y="4935462"/>
                      <a:pt x="704773" y="4945082"/>
                      <a:pt x="692867" y="4955369"/>
                    </a:cubicBezTo>
                    <a:cubicBezTo>
                      <a:pt x="684009" y="4962989"/>
                      <a:pt x="675626" y="4971467"/>
                      <a:pt x="667435" y="4979753"/>
                    </a:cubicBezTo>
                    <a:cubicBezTo>
                      <a:pt x="658386" y="4988898"/>
                      <a:pt x="646671" y="5000994"/>
                      <a:pt x="644670" y="5014329"/>
                    </a:cubicBezTo>
                    <a:cubicBezTo>
                      <a:pt x="642480" y="5028998"/>
                      <a:pt x="660101" y="5027092"/>
                      <a:pt x="669435" y="5023854"/>
                    </a:cubicBezTo>
                    <a:cubicBezTo>
                      <a:pt x="682770" y="5019282"/>
                      <a:pt x="694581" y="5009662"/>
                      <a:pt x="706297" y="5002137"/>
                    </a:cubicBezTo>
                    <a:cubicBezTo>
                      <a:pt x="757542" y="4968419"/>
                      <a:pt x="813072" y="4933081"/>
                      <a:pt x="870984" y="4909554"/>
                    </a:cubicBezTo>
                    <a:cubicBezTo>
                      <a:pt x="896511" y="4899172"/>
                      <a:pt x="926610" y="4888504"/>
                      <a:pt x="954328" y="4886123"/>
                    </a:cubicBezTo>
                    <a:cubicBezTo>
                      <a:pt x="979665" y="4883932"/>
                      <a:pt x="997286" y="4900696"/>
                      <a:pt x="997381" y="4925652"/>
                    </a:cubicBezTo>
                    <a:cubicBezTo>
                      <a:pt x="997476" y="4950416"/>
                      <a:pt x="990809" y="4973467"/>
                      <a:pt x="982522" y="4996518"/>
                    </a:cubicBezTo>
                    <a:cubicBezTo>
                      <a:pt x="978236" y="5008328"/>
                      <a:pt x="971092" y="5026712"/>
                      <a:pt x="975759" y="5039285"/>
                    </a:cubicBezTo>
                    <a:cubicBezTo>
                      <a:pt x="988142" y="5072718"/>
                      <a:pt x="1038148" y="5020806"/>
                      <a:pt x="1050149" y="5010900"/>
                    </a:cubicBezTo>
                    <a:cubicBezTo>
                      <a:pt x="1087107" y="4980420"/>
                      <a:pt x="1130826" y="4955274"/>
                      <a:pt x="1171403" y="4930033"/>
                    </a:cubicBezTo>
                    <a:cubicBezTo>
                      <a:pt x="1187976" y="4919746"/>
                      <a:pt x="1205597" y="4909364"/>
                      <a:pt x="1225029" y="4908792"/>
                    </a:cubicBezTo>
                    <a:cubicBezTo>
                      <a:pt x="1251603" y="4907935"/>
                      <a:pt x="1274844" y="4925270"/>
                      <a:pt x="1297895" y="4938510"/>
                    </a:cubicBezTo>
                    <a:cubicBezTo>
                      <a:pt x="1311039" y="4946035"/>
                      <a:pt x="1326946" y="4952512"/>
                      <a:pt x="1340757" y="4946416"/>
                    </a:cubicBezTo>
                    <a:cubicBezTo>
                      <a:pt x="1348282" y="4943082"/>
                      <a:pt x="1353711" y="4936510"/>
                      <a:pt x="1360284" y="4931652"/>
                    </a:cubicBezTo>
                    <a:cubicBezTo>
                      <a:pt x="1404194" y="4898791"/>
                      <a:pt x="1464487" y="4962609"/>
                      <a:pt x="1500872" y="4983182"/>
                    </a:cubicBezTo>
                    <a:cubicBezTo>
                      <a:pt x="1508397" y="4987469"/>
                      <a:pt x="1516303" y="4991564"/>
                      <a:pt x="1524971" y="4991660"/>
                    </a:cubicBezTo>
                    <a:cubicBezTo>
                      <a:pt x="1533639" y="4991755"/>
                      <a:pt x="1542878" y="4986230"/>
                      <a:pt x="1544116" y="4977753"/>
                    </a:cubicBezTo>
                    <a:cubicBezTo>
                      <a:pt x="1545259" y="4970228"/>
                      <a:pt x="1540020" y="4963275"/>
                      <a:pt x="1534972" y="4957560"/>
                    </a:cubicBezTo>
                    <a:cubicBezTo>
                      <a:pt x="1515065" y="4934700"/>
                      <a:pt x="1493252" y="4913459"/>
                      <a:pt x="1472679" y="4891266"/>
                    </a:cubicBezTo>
                    <a:cubicBezTo>
                      <a:pt x="1339329" y="4747058"/>
                      <a:pt x="1259414" y="4558748"/>
                      <a:pt x="1224362" y="4365391"/>
                    </a:cubicBezTo>
                    <a:cubicBezTo>
                      <a:pt x="1203312" y="4248995"/>
                      <a:pt x="1201502" y="4126694"/>
                      <a:pt x="1194358" y="4008108"/>
                    </a:cubicBezTo>
                    <a:cubicBezTo>
                      <a:pt x="1189977" y="3936194"/>
                      <a:pt x="1188453" y="3863804"/>
                      <a:pt x="1187786" y="3791700"/>
                    </a:cubicBezTo>
                    <a:cubicBezTo>
                      <a:pt x="1187214" y="3722548"/>
                      <a:pt x="1185690" y="3652921"/>
                      <a:pt x="1195501" y="3584436"/>
                    </a:cubicBezTo>
                    <a:cubicBezTo>
                      <a:pt x="1199978" y="3553194"/>
                      <a:pt x="1202549" y="3521571"/>
                      <a:pt x="1208646" y="3490520"/>
                    </a:cubicBezTo>
                    <a:cubicBezTo>
                      <a:pt x="1216456" y="3451086"/>
                      <a:pt x="1227410" y="3412510"/>
                      <a:pt x="1237602" y="3373743"/>
                    </a:cubicBezTo>
                    <a:cubicBezTo>
                      <a:pt x="1245031" y="3345454"/>
                      <a:pt x="1253794" y="3319260"/>
                      <a:pt x="1265414" y="3292495"/>
                    </a:cubicBezTo>
                    <a:cubicBezTo>
                      <a:pt x="1275892" y="3268396"/>
                      <a:pt x="1287703" y="3244108"/>
                      <a:pt x="1300657" y="3221343"/>
                    </a:cubicBezTo>
                    <a:cubicBezTo>
                      <a:pt x="1309515" y="3205722"/>
                      <a:pt x="1320088" y="3191149"/>
                      <a:pt x="1329994" y="3176195"/>
                    </a:cubicBezTo>
                    <a:cubicBezTo>
                      <a:pt x="1338757" y="3162764"/>
                      <a:pt x="1346948" y="3148858"/>
                      <a:pt x="1356664" y="3135999"/>
                    </a:cubicBezTo>
                    <a:cubicBezTo>
                      <a:pt x="1367427" y="3121711"/>
                      <a:pt x="1379429" y="3108377"/>
                      <a:pt x="1390002" y="3093898"/>
                    </a:cubicBezTo>
                    <a:cubicBezTo>
                      <a:pt x="1399622" y="3080659"/>
                      <a:pt x="1408766" y="3067133"/>
                      <a:pt x="1419339" y="3054560"/>
                    </a:cubicBezTo>
                    <a:cubicBezTo>
                      <a:pt x="1440865" y="3028938"/>
                      <a:pt x="1460772" y="3001506"/>
                      <a:pt x="1484394" y="2977789"/>
                    </a:cubicBezTo>
                    <a:cubicBezTo>
                      <a:pt x="1504587" y="2957501"/>
                      <a:pt x="1523733" y="2936069"/>
                      <a:pt x="1544306" y="2916257"/>
                    </a:cubicBezTo>
                    <a:cubicBezTo>
                      <a:pt x="1564023" y="2897207"/>
                      <a:pt x="1585455" y="2879777"/>
                      <a:pt x="1605743" y="2861203"/>
                    </a:cubicBezTo>
                    <a:cubicBezTo>
                      <a:pt x="1622793" y="2845582"/>
                      <a:pt x="1639271" y="2829199"/>
                      <a:pt x="1656416" y="2813673"/>
                    </a:cubicBezTo>
                    <a:cubicBezTo>
                      <a:pt x="1679657" y="2792623"/>
                      <a:pt x="1700993" y="2769668"/>
                      <a:pt x="1726901" y="2751761"/>
                    </a:cubicBezTo>
                    <a:cubicBezTo>
                      <a:pt x="1750332" y="2735568"/>
                      <a:pt x="1773573" y="2719852"/>
                      <a:pt x="1798434" y="2705660"/>
                    </a:cubicBezTo>
                    <a:cubicBezTo>
                      <a:pt x="1826723" y="2689467"/>
                      <a:pt x="1855012" y="2676799"/>
                      <a:pt x="1887016" y="2670036"/>
                    </a:cubicBezTo>
                    <a:cubicBezTo>
                      <a:pt x="1921973" y="2662702"/>
                      <a:pt x="1956930" y="2659178"/>
                      <a:pt x="1992363" y="2654986"/>
                    </a:cubicBezTo>
                    <a:cubicBezTo>
                      <a:pt x="2026462" y="2650986"/>
                      <a:pt x="2059895" y="2651558"/>
                      <a:pt x="2093994" y="2654034"/>
                    </a:cubicBezTo>
                    <a:cubicBezTo>
                      <a:pt x="2124665" y="2656225"/>
                      <a:pt x="2152764" y="2663845"/>
                      <a:pt x="2181815" y="2673275"/>
                    </a:cubicBezTo>
                    <a:cubicBezTo>
                      <a:pt x="2228678" y="2688514"/>
                      <a:pt x="2273922" y="2709088"/>
                      <a:pt x="2318499" y="2729758"/>
                    </a:cubicBezTo>
                    <a:cubicBezTo>
                      <a:pt x="2329357" y="2734806"/>
                      <a:pt x="2340216" y="2739759"/>
                      <a:pt x="2351169" y="2744521"/>
                    </a:cubicBezTo>
                    <a:cubicBezTo>
                      <a:pt x="2355456" y="2746427"/>
                      <a:pt x="2359837" y="2748236"/>
                      <a:pt x="2364123" y="2750046"/>
                    </a:cubicBezTo>
                    <a:cubicBezTo>
                      <a:pt x="2369838" y="2752522"/>
                      <a:pt x="2385364" y="2756999"/>
                      <a:pt x="2386888" y="2762428"/>
                    </a:cubicBezTo>
                    <a:cubicBezTo>
                      <a:pt x="2388603" y="2768620"/>
                      <a:pt x="2384031" y="2781097"/>
                      <a:pt x="2382507" y="2787098"/>
                    </a:cubicBezTo>
                    <a:cubicBezTo>
                      <a:pt x="2379935" y="2796623"/>
                      <a:pt x="2376506" y="2806053"/>
                      <a:pt x="2372696" y="2815102"/>
                    </a:cubicBezTo>
                    <a:cubicBezTo>
                      <a:pt x="2367933" y="2826532"/>
                      <a:pt x="2361075" y="2836438"/>
                      <a:pt x="2354408" y="2846725"/>
                    </a:cubicBezTo>
                    <a:cubicBezTo>
                      <a:pt x="2348312" y="2855964"/>
                      <a:pt x="2342692" y="2863870"/>
                      <a:pt x="2334024" y="2870537"/>
                    </a:cubicBezTo>
                    <a:cubicBezTo>
                      <a:pt x="2326023" y="2876633"/>
                      <a:pt x="2318022" y="2882729"/>
                      <a:pt x="2310498" y="2889397"/>
                    </a:cubicBezTo>
                    <a:cubicBezTo>
                      <a:pt x="2286209" y="2910733"/>
                      <a:pt x="2263539" y="2936450"/>
                      <a:pt x="2252109" y="2967026"/>
                    </a:cubicBezTo>
                    <a:cubicBezTo>
                      <a:pt x="2239632" y="3000363"/>
                      <a:pt x="2237917" y="3035129"/>
                      <a:pt x="2243918" y="3069895"/>
                    </a:cubicBezTo>
                    <a:cubicBezTo>
                      <a:pt x="2246394" y="3084183"/>
                      <a:pt x="2251062" y="3098661"/>
                      <a:pt x="2255919" y="3112282"/>
                    </a:cubicBezTo>
                    <a:cubicBezTo>
                      <a:pt x="2258110" y="3118568"/>
                      <a:pt x="2260206" y="3124855"/>
                      <a:pt x="2263349" y="3130665"/>
                    </a:cubicBezTo>
                    <a:cubicBezTo>
                      <a:pt x="2264397" y="3132570"/>
                      <a:pt x="2265825" y="3136856"/>
                      <a:pt x="2268302" y="3137047"/>
                    </a:cubicBezTo>
                    <a:cubicBezTo>
                      <a:pt x="2271540" y="3137237"/>
                      <a:pt x="2270207" y="3134665"/>
                      <a:pt x="2271159" y="3133237"/>
                    </a:cubicBezTo>
                    <a:cubicBezTo>
                      <a:pt x="2285733" y="3110758"/>
                      <a:pt x="2307259" y="3093613"/>
                      <a:pt x="2326881" y="3075801"/>
                    </a:cubicBezTo>
                    <a:cubicBezTo>
                      <a:pt x="2351931" y="3053227"/>
                      <a:pt x="2374696" y="3018270"/>
                      <a:pt x="2381078" y="2984837"/>
                    </a:cubicBezTo>
                    <a:cubicBezTo>
                      <a:pt x="2386507" y="2956643"/>
                      <a:pt x="2375744" y="2928068"/>
                      <a:pt x="2363361" y="2903113"/>
                    </a:cubicBezTo>
                    <a:cubicBezTo>
                      <a:pt x="2360790" y="2897969"/>
                      <a:pt x="2358123" y="2893016"/>
                      <a:pt x="2355360" y="2887968"/>
                    </a:cubicBezTo>
                    <a:cubicBezTo>
                      <a:pt x="2352503" y="2882729"/>
                      <a:pt x="2350979" y="2881301"/>
                      <a:pt x="2354217" y="2876252"/>
                    </a:cubicBezTo>
                    <a:cubicBezTo>
                      <a:pt x="2363266" y="2862346"/>
                      <a:pt x="2371458" y="2847963"/>
                      <a:pt x="2378792" y="2833104"/>
                    </a:cubicBezTo>
                    <a:cubicBezTo>
                      <a:pt x="2388888" y="2812625"/>
                      <a:pt x="2399937" y="2792623"/>
                      <a:pt x="2409177" y="2771668"/>
                    </a:cubicBezTo>
                    <a:cubicBezTo>
                      <a:pt x="2416416" y="2775097"/>
                      <a:pt x="2417940" y="2780717"/>
                      <a:pt x="2422035" y="2787670"/>
                    </a:cubicBezTo>
                    <a:cubicBezTo>
                      <a:pt x="2426036" y="2794528"/>
                      <a:pt x="2430227" y="2801290"/>
                      <a:pt x="2434418" y="2807958"/>
                    </a:cubicBezTo>
                    <a:cubicBezTo>
                      <a:pt x="2440228" y="2817197"/>
                      <a:pt x="2446038" y="2826436"/>
                      <a:pt x="2451753" y="2835866"/>
                    </a:cubicBezTo>
                    <a:cubicBezTo>
                      <a:pt x="2454039" y="2839676"/>
                      <a:pt x="2456421" y="2843391"/>
                      <a:pt x="2458992" y="2847011"/>
                    </a:cubicBezTo>
                    <a:cubicBezTo>
                      <a:pt x="2462898" y="2852440"/>
                      <a:pt x="2464517" y="2853964"/>
                      <a:pt x="2464326" y="2861108"/>
                    </a:cubicBezTo>
                    <a:cubicBezTo>
                      <a:pt x="2463945" y="2880158"/>
                      <a:pt x="2466136" y="2899303"/>
                      <a:pt x="2467374" y="2918258"/>
                    </a:cubicBezTo>
                    <a:cubicBezTo>
                      <a:pt x="2468327" y="2933593"/>
                      <a:pt x="2469851" y="2948452"/>
                      <a:pt x="2472518" y="2963596"/>
                    </a:cubicBezTo>
                    <a:cubicBezTo>
                      <a:pt x="2473566" y="2969407"/>
                      <a:pt x="2476614" y="2978836"/>
                      <a:pt x="2475852" y="2984742"/>
                    </a:cubicBezTo>
                    <a:cubicBezTo>
                      <a:pt x="2475185" y="2990076"/>
                      <a:pt x="2471565" y="2996553"/>
                      <a:pt x="2469756" y="3001792"/>
                    </a:cubicBezTo>
                    <a:cubicBezTo>
                      <a:pt x="2463088" y="3021032"/>
                      <a:pt x="2455563" y="3039225"/>
                      <a:pt x="2454516" y="3059894"/>
                    </a:cubicBezTo>
                    <a:cubicBezTo>
                      <a:pt x="2453658" y="3077325"/>
                      <a:pt x="2457659" y="3094089"/>
                      <a:pt x="2464136" y="3110186"/>
                    </a:cubicBezTo>
                    <a:cubicBezTo>
                      <a:pt x="2471756" y="3129141"/>
                      <a:pt x="2481948" y="3147429"/>
                      <a:pt x="2495854" y="3162383"/>
                    </a:cubicBezTo>
                    <a:cubicBezTo>
                      <a:pt x="2505760" y="3173051"/>
                      <a:pt x="2516428" y="3182671"/>
                      <a:pt x="2527191" y="3192482"/>
                    </a:cubicBezTo>
                    <a:cubicBezTo>
                      <a:pt x="2533002" y="3197816"/>
                      <a:pt x="2538050" y="3203912"/>
                      <a:pt x="2543574" y="3209532"/>
                    </a:cubicBezTo>
                    <a:cubicBezTo>
                      <a:pt x="2545574" y="3211628"/>
                      <a:pt x="2550908" y="3218771"/>
                      <a:pt x="2553766" y="3219247"/>
                    </a:cubicBezTo>
                    <a:cubicBezTo>
                      <a:pt x="2558529" y="3220010"/>
                      <a:pt x="2557386" y="3217628"/>
                      <a:pt x="2557481" y="3214390"/>
                    </a:cubicBezTo>
                    <a:cubicBezTo>
                      <a:pt x="2557671" y="3210294"/>
                      <a:pt x="2556528" y="3206103"/>
                      <a:pt x="2556624" y="3202007"/>
                    </a:cubicBezTo>
                    <a:cubicBezTo>
                      <a:pt x="2556814" y="3195245"/>
                      <a:pt x="2558338" y="3188482"/>
                      <a:pt x="2559291" y="3181910"/>
                    </a:cubicBezTo>
                    <a:cubicBezTo>
                      <a:pt x="2562529" y="3159240"/>
                      <a:pt x="2566434" y="3136666"/>
                      <a:pt x="2567863" y="3113901"/>
                    </a:cubicBezTo>
                    <a:cubicBezTo>
                      <a:pt x="2568911" y="3096851"/>
                      <a:pt x="2568054" y="3077325"/>
                      <a:pt x="2561672" y="3061323"/>
                    </a:cubicBezTo>
                    <a:cubicBezTo>
                      <a:pt x="2557005" y="3049607"/>
                      <a:pt x="2549670" y="3039701"/>
                      <a:pt x="2541955" y="3029795"/>
                    </a:cubicBezTo>
                    <a:cubicBezTo>
                      <a:pt x="2532049" y="3016936"/>
                      <a:pt x="2520810" y="3006840"/>
                      <a:pt x="2506808" y="2998744"/>
                    </a:cubicBezTo>
                    <a:cubicBezTo>
                      <a:pt x="2499664" y="2994553"/>
                      <a:pt x="2487948" y="2988933"/>
                      <a:pt x="2484138" y="2981408"/>
                    </a:cubicBezTo>
                    <a:cubicBezTo>
                      <a:pt x="2479852" y="2972931"/>
                      <a:pt x="2481281" y="2958644"/>
                      <a:pt x="2481090" y="2949309"/>
                    </a:cubicBezTo>
                    <a:cubicBezTo>
                      <a:pt x="2480805" y="2940451"/>
                      <a:pt x="2481186" y="2931593"/>
                      <a:pt x="2481281" y="2922639"/>
                    </a:cubicBezTo>
                    <a:cubicBezTo>
                      <a:pt x="2481471" y="2908066"/>
                      <a:pt x="2483472" y="2893778"/>
                      <a:pt x="2484615" y="2879300"/>
                    </a:cubicBezTo>
                    <a:cubicBezTo>
                      <a:pt x="2488615" y="2888159"/>
                      <a:pt x="2498331" y="2896255"/>
                      <a:pt x="2504712" y="2903494"/>
                    </a:cubicBezTo>
                    <a:cubicBezTo>
                      <a:pt x="2512618" y="2912447"/>
                      <a:pt x="2520714" y="2921305"/>
                      <a:pt x="2529382" y="2929497"/>
                    </a:cubicBezTo>
                    <a:cubicBezTo>
                      <a:pt x="2537288" y="2937022"/>
                      <a:pt x="2545670" y="2944165"/>
                      <a:pt x="2553861" y="2951404"/>
                    </a:cubicBezTo>
                    <a:cubicBezTo>
                      <a:pt x="2563767" y="2960072"/>
                      <a:pt x="2574340" y="2967787"/>
                      <a:pt x="2585103" y="2975312"/>
                    </a:cubicBezTo>
                    <a:cubicBezTo>
                      <a:pt x="2588818" y="2977884"/>
                      <a:pt x="2590152" y="2978932"/>
                      <a:pt x="2591961" y="2982361"/>
                    </a:cubicBezTo>
                    <a:cubicBezTo>
                      <a:pt x="2593866" y="2985980"/>
                      <a:pt x="2594247" y="2990647"/>
                      <a:pt x="2595676" y="2994553"/>
                    </a:cubicBezTo>
                    <a:cubicBezTo>
                      <a:pt x="2599010" y="3003983"/>
                      <a:pt x="2603772" y="3013412"/>
                      <a:pt x="2608440" y="3022366"/>
                    </a:cubicBezTo>
                    <a:cubicBezTo>
                      <a:pt x="2625966" y="3055798"/>
                      <a:pt x="2650254" y="3084945"/>
                      <a:pt x="2683306" y="3103995"/>
                    </a:cubicBezTo>
                    <a:cubicBezTo>
                      <a:pt x="2709786" y="3119330"/>
                      <a:pt x="2737122" y="3120473"/>
                      <a:pt x="2766650" y="3121140"/>
                    </a:cubicBezTo>
                    <a:cubicBezTo>
                      <a:pt x="2773794" y="3121330"/>
                      <a:pt x="2781033" y="3121330"/>
                      <a:pt x="2788176" y="3121140"/>
                    </a:cubicBezTo>
                    <a:cubicBezTo>
                      <a:pt x="2793891" y="3120950"/>
                      <a:pt x="2806179" y="3121426"/>
                      <a:pt x="2810465" y="3116759"/>
                    </a:cubicBezTo>
                    <a:cubicBezTo>
                      <a:pt x="2815132" y="3111710"/>
                      <a:pt x="2805321" y="3105710"/>
                      <a:pt x="2802178" y="3100852"/>
                    </a:cubicBezTo>
                    <a:cubicBezTo>
                      <a:pt x="2797987" y="3094565"/>
                      <a:pt x="2794558" y="3087707"/>
                      <a:pt x="2791034" y="3081040"/>
                    </a:cubicBezTo>
                    <a:cubicBezTo>
                      <a:pt x="2776080" y="3052751"/>
                      <a:pt x="2758077" y="3025223"/>
                      <a:pt x="2735408" y="3002649"/>
                    </a:cubicBezTo>
                    <a:cubicBezTo>
                      <a:pt x="2720168" y="2987504"/>
                      <a:pt x="2701023" y="2973503"/>
                      <a:pt x="2680830" y="2965692"/>
                    </a:cubicBezTo>
                    <a:cubicBezTo>
                      <a:pt x="2663780" y="2959120"/>
                      <a:pt x="2637396" y="2957405"/>
                      <a:pt x="2620060" y="2963692"/>
                    </a:cubicBezTo>
                    <a:cubicBezTo>
                      <a:pt x="2614059" y="2965883"/>
                      <a:pt x="2608058" y="2968169"/>
                      <a:pt x="2602153" y="2970550"/>
                    </a:cubicBezTo>
                    <a:cubicBezTo>
                      <a:pt x="2594152" y="2973693"/>
                      <a:pt x="2595581" y="2973312"/>
                      <a:pt x="2588532" y="2967216"/>
                    </a:cubicBezTo>
                    <a:cubicBezTo>
                      <a:pt x="2577102" y="2957310"/>
                      <a:pt x="2565291" y="2947880"/>
                      <a:pt x="2554814" y="2937022"/>
                    </a:cubicBezTo>
                    <a:cubicBezTo>
                      <a:pt x="2534811" y="2916448"/>
                      <a:pt x="2514809" y="2896160"/>
                      <a:pt x="2496616" y="2873966"/>
                    </a:cubicBezTo>
                    <a:cubicBezTo>
                      <a:pt x="2473566" y="2845963"/>
                      <a:pt x="2455468" y="2815006"/>
                      <a:pt x="2436323" y="2784241"/>
                    </a:cubicBezTo>
                    <a:cubicBezTo>
                      <a:pt x="2487663" y="2807482"/>
                      <a:pt x="2540431" y="2827198"/>
                      <a:pt x="2592152" y="2849296"/>
                    </a:cubicBezTo>
                    <a:cubicBezTo>
                      <a:pt x="2617965" y="2860345"/>
                      <a:pt x="2645016" y="2868537"/>
                      <a:pt x="2671686" y="2877205"/>
                    </a:cubicBezTo>
                    <a:cubicBezTo>
                      <a:pt x="2700261" y="2886539"/>
                      <a:pt x="2728931" y="2895493"/>
                      <a:pt x="2758268" y="2902160"/>
                    </a:cubicBezTo>
                    <a:cubicBezTo>
                      <a:pt x="2805893" y="2913114"/>
                      <a:pt x="2853137" y="2923782"/>
                      <a:pt x="2901524" y="2931402"/>
                    </a:cubicBezTo>
                    <a:cubicBezTo>
                      <a:pt x="2941243" y="2937593"/>
                      <a:pt x="2980867" y="2939784"/>
                      <a:pt x="3020967" y="2940260"/>
                    </a:cubicBezTo>
                    <a:cubicBezTo>
                      <a:pt x="3026587" y="2940355"/>
                      <a:pt x="3034016" y="2938927"/>
                      <a:pt x="3039255" y="2940165"/>
                    </a:cubicBezTo>
                    <a:cubicBezTo>
                      <a:pt x="3042208" y="2940832"/>
                      <a:pt x="3045447" y="2943594"/>
                      <a:pt x="3048114" y="2945118"/>
                    </a:cubicBezTo>
                    <a:cubicBezTo>
                      <a:pt x="3058496" y="2950928"/>
                      <a:pt x="3068402" y="2957501"/>
                      <a:pt x="3078403" y="2963978"/>
                    </a:cubicBezTo>
                    <a:cubicBezTo>
                      <a:pt x="3095358" y="2975027"/>
                      <a:pt x="3111931" y="2986742"/>
                      <a:pt x="3128790" y="2997982"/>
                    </a:cubicBezTo>
                    <a:cubicBezTo>
                      <a:pt x="3134600" y="3001792"/>
                      <a:pt x="3140316" y="3005792"/>
                      <a:pt x="3146031" y="3009697"/>
                    </a:cubicBezTo>
                    <a:cubicBezTo>
                      <a:pt x="3148602" y="3011507"/>
                      <a:pt x="3152603" y="3013222"/>
                      <a:pt x="3154127" y="3015794"/>
                    </a:cubicBezTo>
                    <a:cubicBezTo>
                      <a:pt x="3156413" y="3019318"/>
                      <a:pt x="3156318" y="3027890"/>
                      <a:pt x="3157080" y="3032177"/>
                    </a:cubicBezTo>
                    <a:cubicBezTo>
                      <a:pt x="3159556" y="3045416"/>
                      <a:pt x="3164223" y="3059228"/>
                      <a:pt x="3168795" y="3071991"/>
                    </a:cubicBezTo>
                    <a:cubicBezTo>
                      <a:pt x="3172224" y="3081516"/>
                      <a:pt x="3176225" y="3090946"/>
                      <a:pt x="3180416" y="3100090"/>
                    </a:cubicBezTo>
                    <a:cubicBezTo>
                      <a:pt x="3182035" y="3103614"/>
                      <a:pt x="3183845" y="3107138"/>
                      <a:pt x="3185750" y="3110567"/>
                    </a:cubicBezTo>
                    <a:cubicBezTo>
                      <a:pt x="3188417" y="3115425"/>
                      <a:pt x="3189750" y="3116187"/>
                      <a:pt x="3188226" y="3120664"/>
                    </a:cubicBezTo>
                    <a:cubicBezTo>
                      <a:pt x="3184512" y="3132094"/>
                      <a:pt x="3176320" y="3142381"/>
                      <a:pt x="3172129" y="3153811"/>
                    </a:cubicBezTo>
                    <a:cubicBezTo>
                      <a:pt x="3167748" y="3165812"/>
                      <a:pt x="3164699" y="3178671"/>
                      <a:pt x="3163271" y="3191339"/>
                    </a:cubicBezTo>
                    <a:cubicBezTo>
                      <a:pt x="3155937" y="3257252"/>
                      <a:pt x="3196989" y="3322118"/>
                      <a:pt x="3252330" y="3354979"/>
                    </a:cubicBezTo>
                    <a:cubicBezTo>
                      <a:pt x="3273285" y="3367361"/>
                      <a:pt x="3298049" y="3375934"/>
                      <a:pt x="3321005" y="3384030"/>
                    </a:cubicBezTo>
                    <a:cubicBezTo>
                      <a:pt x="3331387" y="3387745"/>
                      <a:pt x="3332435" y="3384220"/>
                      <a:pt x="3333292" y="3374410"/>
                    </a:cubicBezTo>
                    <a:cubicBezTo>
                      <a:pt x="3334245" y="3363075"/>
                      <a:pt x="3336149" y="3351740"/>
                      <a:pt x="3336912" y="3340405"/>
                    </a:cubicBezTo>
                    <a:cubicBezTo>
                      <a:pt x="3339198" y="3306878"/>
                      <a:pt x="3327291" y="3270302"/>
                      <a:pt x="3313004" y="3240679"/>
                    </a:cubicBezTo>
                    <a:cubicBezTo>
                      <a:pt x="3305479" y="3225153"/>
                      <a:pt x="3298812" y="3208294"/>
                      <a:pt x="3288048" y="3194673"/>
                    </a:cubicBezTo>
                    <a:cubicBezTo>
                      <a:pt x="3280428" y="3184862"/>
                      <a:pt x="3271380" y="3175337"/>
                      <a:pt x="3262616" y="3166479"/>
                    </a:cubicBezTo>
                    <a:cubicBezTo>
                      <a:pt x="3244138" y="3148001"/>
                      <a:pt x="3220897" y="3135999"/>
                      <a:pt x="3200609" y="3119806"/>
                    </a:cubicBezTo>
                    <a:cubicBezTo>
                      <a:pt x="3194894" y="3115235"/>
                      <a:pt x="3193560" y="3106853"/>
                      <a:pt x="3191370" y="3099899"/>
                    </a:cubicBezTo>
                    <a:cubicBezTo>
                      <a:pt x="3188322" y="3089898"/>
                      <a:pt x="3186798" y="3079420"/>
                      <a:pt x="3184607" y="3069229"/>
                    </a:cubicBezTo>
                    <a:cubicBezTo>
                      <a:pt x="3182035" y="3057513"/>
                      <a:pt x="3180797" y="3045607"/>
                      <a:pt x="3178987" y="3033701"/>
                    </a:cubicBezTo>
                    <a:cubicBezTo>
                      <a:pt x="3215182" y="3055418"/>
                      <a:pt x="3249091" y="3079802"/>
                      <a:pt x="3287382" y="3098089"/>
                    </a:cubicBezTo>
                    <a:cubicBezTo>
                      <a:pt x="3318909" y="3113139"/>
                      <a:pt x="3351580" y="3127236"/>
                      <a:pt x="3385394" y="3135999"/>
                    </a:cubicBezTo>
                    <a:cubicBezTo>
                      <a:pt x="3388347" y="3136761"/>
                      <a:pt x="3390728" y="3136856"/>
                      <a:pt x="3392633" y="3138761"/>
                    </a:cubicBezTo>
                    <a:cubicBezTo>
                      <a:pt x="3395300" y="3141523"/>
                      <a:pt x="3397110" y="3146762"/>
                      <a:pt x="3399205" y="3150001"/>
                    </a:cubicBezTo>
                    <a:cubicBezTo>
                      <a:pt x="3404920" y="3158954"/>
                      <a:pt x="3410825" y="3167717"/>
                      <a:pt x="3416636" y="3176576"/>
                    </a:cubicBezTo>
                    <a:cubicBezTo>
                      <a:pt x="3426732" y="3191911"/>
                      <a:pt x="3436638" y="3207341"/>
                      <a:pt x="3448449" y="3221438"/>
                    </a:cubicBezTo>
                    <a:cubicBezTo>
                      <a:pt x="3455688" y="3230106"/>
                      <a:pt x="3464547" y="3238774"/>
                      <a:pt x="3470928" y="3248108"/>
                    </a:cubicBezTo>
                    <a:cubicBezTo>
                      <a:pt x="3474833" y="3253919"/>
                      <a:pt x="3475786" y="3263253"/>
                      <a:pt x="3477786" y="3270206"/>
                    </a:cubicBezTo>
                    <a:cubicBezTo>
                      <a:pt x="3485502" y="3296876"/>
                      <a:pt x="3495789" y="3322594"/>
                      <a:pt x="3511314" y="3345739"/>
                    </a:cubicBezTo>
                    <a:cubicBezTo>
                      <a:pt x="3531507" y="3375648"/>
                      <a:pt x="3563702" y="3396889"/>
                      <a:pt x="3596849" y="3410033"/>
                    </a:cubicBezTo>
                    <a:cubicBezTo>
                      <a:pt x="3629424" y="3422892"/>
                      <a:pt x="3666000" y="3430226"/>
                      <a:pt x="3700576" y="3422130"/>
                    </a:cubicBezTo>
                    <a:cubicBezTo>
                      <a:pt x="3711149" y="3419653"/>
                      <a:pt x="3703815" y="3406985"/>
                      <a:pt x="3701529" y="3399365"/>
                    </a:cubicBezTo>
                    <a:cubicBezTo>
                      <a:pt x="3698576" y="3389650"/>
                      <a:pt x="3696195" y="3379934"/>
                      <a:pt x="3692670" y="3370504"/>
                    </a:cubicBezTo>
                    <a:cubicBezTo>
                      <a:pt x="3686860" y="3354979"/>
                      <a:pt x="3680002" y="3340786"/>
                      <a:pt x="3671430" y="3326594"/>
                    </a:cubicBezTo>
                    <a:cubicBezTo>
                      <a:pt x="3649141" y="3289923"/>
                      <a:pt x="3621995" y="3254204"/>
                      <a:pt x="3578180" y="3242488"/>
                    </a:cubicBezTo>
                    <a:cubicBezTo>
                      <a:pt x="3559987" y="3237631"/>
                      <a:pt x="3539508" y="3235059"/>
                      <a:pt x="3520839" y="3235250"/>
                    </a:cubicBezTo>
                    <a:cubicBezTo>
                      <a:pt x="3509981" y="3235345"/>
                      <a:pt x="3500170" y="3237821"/>
                      <a:pt x="3489597" y="3239726"/>
                    </a:cubicBezTo>
                    <a:cubicBezTo>
                      <a:pt x="3485216" y="3240488"/>
                      <a:pt x="3482263" y="3241441"/>
                      <a:pt x="3478644" y="3239060"/>
                    </a:cubicBezTo>
                    <a:cubicBezTo>
                      <a:pt x="3473786" y="3235821"/>
                      <a:pt x="3470071" y="3228487"/>
                      <a:pt x="3466642" y="3223724"/>
                    </a:cubicBezTo>
                    <a:cubicBezTo>
                      <a:pt x="3448449" y="3198102"/>
                      <a:pt x="3432828" y="3171718"/>
                      <a:pt x="3419493" y="3143333"/>
                    </a:cubicBezTo>
                    <a:cubicBezTo>
                      <a:pt x="3439877" y="3148953"/>
                      <a:pt x="3461308" y="3150191"/>
                      <a:pt x="3482263" y="3152477"/>
                    </a:cubicBezTo>
                    <a:cubicBezTo>
                      <a:pt x="3497027" y="3154096"/>
                      <a:pt x="3511981" y="3155335"/>
                      <a:pt x="3526840" y="3155144"/>
                    </a:cubicBezTo>
                    <a:cubicBezTo>
                      <a:pt x="3530269" y="3155144"/>
                      <a:pt x="3534936" y="3154096"/>
                      <a:pt x="3538270" y="3154763"/>
                    </a:cubicBezTo>
                    <a:cubicBezTo>
                      <a:pt x="3545890" y="3156383"/>
                      <a:pt x="3553891" y="3162002"/>
                      <a:pt x="3560940" y="3165622"/>
                    </a:cubicBezTo>
                    <a:cubicBezTo>
                      <a:pt x="3574560" y="3172670"/>
                      <a:pt x="3588753" y="3180100"/>
                      <a:pt x="3603231" y="3185243"/>
                    </a:cubicBezTo>
                    <a:cubicBezTo>
                      <a:pt x="3631329" y="3195245"/>
                      <a:pt x="3659428" y="3200388"/>
                      <a:pt x="3689337" y="3199721"/>
                    </a:cubicBezTo>
                    <a:cubicBezTo>
                      <a:pt x="3725722" y="3198959"/>
                      <a:pt x="3764013" y="3184672"/>
                      <a:pt x="3794969" y="3165908"/>
                    </a:cubicBezTo>
                    <a:cubicBezTo>
                      <a:pt x="3805637" y="3159430"/>
                      <a:pt x="3816591" y="3150191"/>
                      <a:pt x="3825354" y="3141428"/>
                    </a:cubicBezTo>
                    <a:cubicBezTo>
                      <a:pt x="3831069" y="3135713"/>
                      <a:pt x="3850690" y="3113329"/>
                      <a:pt x="3839832" y="3106662"/>
                    </a:cubicBezTo>
                    <a:cubicBezTo>
                      <a:pt x="3836974" y="3104947"/>
                      <a:pt x="3832593" y="3104376"/>
                      <a:pt x="3829449" y="3103328"/>
                    </a:cubicBezTo>
                    <a:cubicBezTo>
                      <a:pt x="3821067" y="3100661"/>
                      <a:pt x="3813066" y="3097518"/>
                      <a:pt x="3805065" y="3093994"/>
                    </a:cubicBezTo>
                    <a:cubicBezTo>
                      <a:pt x="3786587" y="3085707"/>
                      <a:pt x="3766013" y="3080183"/>
                      <a:pt x="3746677" y="3074277"/>
                    </a:cubicBezTo>
                    <a:cubicBezTo>
                      <a:pt x="3725627" y="3067800"/>
                      <a:pt x="3704005" y="3061895"/>
                      <a:pt x="3681812" y="3061609"/>
                    </a:cubicBezTo>
                    <a:cubicBezTo>
                      <a:pt x="3659428" y="3061418"/>
                      <a:pt x="3636663" y="3067038"/>
                      <a:pt x="3615899" y="3075229"/>
                    </a:cubicBezTo>
                    <a:cubicBezTo>
                      <a:pt x="3594849" y="3083516"/>
                      <a:pt x="3574465" y="3095518"/>
                      <a:pt x="3557606" y="3110662"/>
                    </a:cubicBezTo>
                    <a:cubicBezTo>
                      <a:pt x="3550462" y="3117044"/>
                      <a:pt x="3544938" y="3124760"/>
                      <a:pt x="3537794" y="3131236"/>
                    </a:cubicBezTo>
                    <a:cubicBezTo>
                      <a:pt x="3534365" y="3134285"/>
                      <a:pt x="3530650" y="3139523"/>
                      <a:pt x="3526649" y="3141809"/>
                    </a:cubicBezTo>
                    <a:cubicBezTo>
                      <a:pt x="3521697" y="3144571"/>
                      <a:pt x="3509790" y="3142286"/>
                      <a:pt x="3504075" y="3141809"/>
                    </a:cubicBezTo>
                    <a:cubicBezTo>
                      <a:pt x="3495312" y="3141047"/>
                      <a:pt x="3486645" y="3139904"/>
                      <a:pt x="3477882" y="3139142"/>
                    </a:cubicBezTo>
                    <a:cubicBezTo>
                      <a:pt x="3462927" y="3137904"/>
                      <a:pt x="3447783" y="3137523"/>
                      <a:pt x="3432828" y="3135332"/>
                    </a:cubicBezTo>
                    <a:cubicBezTo>
                      <a:pt x="3398443" y="3130379"/>
                      <a:pt x="3365106" y="3120759"/>
                      <a:pt x="3333292" y="3107043"/>
                    </a:cubicBezTo>
                    <a:cubicBezTo>
                      <a:pt x="3344246" y="3106567"/>
                      <a:pt x="3355866" y="3103423"/>
                      <a:pt x="3366344" y="3100471"/>
                    </a:cubicBezTo>
                    <a:cubicBezTo>
                      <a:pt x="3373202" y="3098566"/>
                      <a:pt x="3379965" y="3096280"/>
                      <a:pt x="3386537" y="3093613"/>
                    </a:cubicBezTo>
                    <a:cubicBezTo>
                      <a:pt x="3392823" y="3090946"/>
                      <a:pt x="3399015" y="3086564"/>
                      <a:pt x="3405491" y="3085802"/>
                    </a:cubicBezTo>
                    <a:cubicBezTo>
                      <a:pt x="3429495" y="3083230"/>
                      <a:pt x="3454355" y="3088374"/>
                      <a:pt x="3478644" y="3086564"/>
                    </a:cubicBezTo>
                    <a:cubicBezTo>
                      <a:pt x="3508457" y="3084373"/>
                      <a:pt x="3534936" y="3075134"/>
                      <a:pt x="3559987" y="3058846"/>
                    </a:cubicBezTo>
                    <a:cubicBezTo>
                      <a:pt x="3579037" y="3046464"/>
                      <a:pt x="3599992" y="3029033"/>
                      <a:pt x="3612851" y="3010269"/>
                    </a:cubicBezTo>
                    <a:cubicBezTo>
                      <a:pt x="3624186" y="2993695"/>
                      <a:pt x="3631901" y="2973979"/>
                      <a:pt x="3640188" y="2955691"/>
                    </a:cubicBezTo>
                    <a:cubicBezTo>
                      <a:pt x="3647141" y="2940165"/>
                      <a:pt x="3654475" y="2922353"/>
                      <a:pt x="3658571" y="2905780"/>
                    </a:cubicBezTo>
                    <a:cubicBezTo>
                      <a:pt x="3661047" y="2895588"/>
                      <a:pt x="3654761" y="2900541"/>
                      <a:pt x="3649522" y="2902732"/>
                    </a:cubicBezTo>
                    <a:cubicBezTo>
                      <a:pt x="3643712" y="2905208"/>
                      <a:pt x="3637140" y="2906351"/>
                      <a:pt x="3631044" y="2908161"/>
                    </a:cubicBezTo>
                    <a:cubicBezTo>
                      <a:pt x="3611327" y="2913876"/>
                      <a:pt x="3591896" y="2920353"/>
                      <a:pt x="3572274" y="2926354"/>
                    </a:cubicBezTo>
                    <a:cubicBezTo>
                      <a:pt x="3546366" y="2934164"/>
                      <a:pt x="3519696" y="2941308"/>
                      <a:pt x="3494741" y="2951690"/>
                    </a:cubicBezTo>
                    <a:cubicBezTo>
                      <a:pt x="3451021" y="2969883"/>
                      <a:pt x="3414731" y="3002268"/>
                      <a:pt x="3399586" y="3048274"/>
                    </a:cubicBezTo>
                    <a:cubicBezTo>
                      <a:pt x="3397395" y="3054941"/>
                      <a:pt x="3396729" y="3061990"/>
                      <a:pt x="3394538" y="3068657"/>
                    </a:cubicBezTo>
                    <a:cubicBezTo>
                      <a:pt x="3393871" y="3070753"/>
                      <a:pt x="3393109" y="3073801"/>
                      <a:pt x="3391966" y="3075706"/>
                    </a:cubicBezTo>
                    <a:cubicBezTo>
                      <a:pt x="3389108" y="3080468"/>
                      <a:pt x="3383584" y="3081421"/>
                      <a:pt x="3378155" y="3083230"/>
                    </a:cubicBezTo>
                    <a:cubicBezTo>
                      <a:pt x="3360057" y="3089136"/>
                      <a:pt x="3338245" y="3092089"/>
                      <a:pt x="3319100" y="3092184"/>
                    </a:cubicBezTo>
                    <a:cubicBezTo>
                      <a:pt x="3314623" y="3092184"/>
                      <a:pt x="3310241" y="3091708"/>
                      <a:pt x="3305765" y="3091517"/>
                    </a:cubicBezTo>
                    <a:cubicBezTo>
                      <a:pt x="3297954" y="3091231"/>
                      <a:pt x="3291763" y="3086564"/>
                      <a:pt x="3285096" y="3082564"/>
                    </a:cubicBezTo>
                    <a:cubicBezTo>
                      <a:pt x="3269570" y="3073134"/>
                      <a:pt x="3253758" y="3064180"/>
                      <a:pt x="3238328" y="3054655"/>
                    </a:cubicBezTo>
                    <a:cubicBezTo>
                      <a:pt x="3183083" y="3020461"/>
                      <a:pt x="3135744" y="2976360"/>
                      <a:pt x="3082499" y="2939594"/>
                    </a:cubicBezTo>
                    <a:cubicBezTo>
                      <a:pt x="3130219" y="2939498"/>
                      <a:pt x="3178797" y="2935021"/>
                      <a:pt x="3226041" y="2928735"/>
                    </a:cubicBezTo>
                    <a:cubicBezTo>
                      <a:pt x="3278809" y="2921686"/>
                      <a:pt x="3331768" y="2914352"/>
                      <a:pt x="3383965" y="2904065"/>
                    </a:cubicBezTo>
                    <a:cubicBezTo>
                      <a:pt x="3468452" y="2887301"/>
                      <a:pt x="3551796" y="2866727"/>
                      <a:pt x="3633806" y="2840248"/>
                    </a:cubicBezTo>
                    <a:cubicBezTo>
                      <a:pt x="3668667" y="2829008"/>
                      <a:pt x="3703719" y="2818817"/>
                      <a:pt x="3738771" y="2808244"/>
                    </a:cubicBezTo>
                    <a:cubicBezTo>
                      <a:pt x="3754678" y="2803386"/>
                      <a:pt x="3770490" y="2797861"/>
                      <a:pt x="3786301" y="2792623"/>
                    </a:cubicBezTo>
                    <a:cubicBezTo>
                      <a:pt x="3798683" y="2788527"/>
                      <a:pt x="3813638" y="2780717"/>
                      <a:pt x="3826592" y="2780907"/>
                    </a:cubicBezTo>
                    <a:cubicBezTo>
                      <a:pt x="3837641" y="2781097"/>
                      <a:pt x="3849357" y="2783003"/>
                      <a:pt x="3859929" y="2786146"/>
                    </a:cubicBezTo>
                    <a:cubicBezTo>
                      <a:pt x="3875836" y="2790908"/>
                      <a:pt x="3892029" y="2797957"/>
                      <a:pt x="3906316" y="2806529"/>
                    </a:cubicBezTo>
                    <a:cubicBezTo>
                      <a:pt x="3918794" y="2814054"/>
                      <a:pt x="3925366" y="2820340"/>
                      <a:pt x="3931938" y="2833009"/>
                    </a:cubicBezTo>
                    <a:cubicBezTo>
                      <a:pt x="3943654" y="2855773"/>
                      <a:pt x="3957941" y="2874633"/>
                      <a:pt x="3978135" y="2890445"/>
                    </a:cubicBezTo>
                    <a:cubicBezTo>
                      <a:pt x="4018711" y="2922068"/>
                      <a:pt x="4071480" y="2929592"/>
                      <a:pt x="4120914" y="2937022"/>
                    </a:cubicBezTo>
                    <a:cubicBezTo>
                      <a:pt x="4138726" y="2939689"/>
                      <a:pt x="4140726" y="2929306"/>
                      <a:pt x="4132535" y="2915590"/>
                    </a:cubicBezTo>
                    <a:cubicBezTo>
                      <a:pt x="4126153" y="2904922"/>
                      <a:pt x="4119105" y="2894540"/>
                      <a:pt x="4112247" y="2884158"/>
                    </a:cubicBezTo>
                    <a:cubicBezTo>
                      <a:pt x="4104341" y="2872252"/>
                      <a:pt x="4096530" y="2860345"/>
                      <a:pt x="4087863" y="2849011"/>
                    </a:cubicBezTo>
                    <a:cubicBezTo>
                      <a:pt x="4078338" y="2836723"/>
                      <a:pt x="4067479" y="2826913"/>
                      <a:pt x="4056240" y="2816340"/>
                    </a:cubicBezTo>
                    <a:cubicBezTo>
                      <a:pt x="4044238" y="2805005"/>
                      <a:pt x="4034332" y="2795004"/>
                      <a:pt x="4018616" y="2788622"/>
                    </a:cubicBezTo>
                    <a:cubicBezTo>
                      <a:pt x="4003185" y="2782336"/>
                      <a:pt x="3986898" y="2780050"/>
                      <a:pt x="3970324" y="2781288"/>
                    </a:cubicBezTo>
                    <a:cubicBezTo>
                      <a:pt x="3955274" y="2782336"/>
                      <a:pt x="3938606" y="2787003"/>
                      <a:pt x="3926699" y="2796623"/>
                    </a:cubicBezTo>
                    <a:cubicBezTo>
                      <a:pt x="3922508" y="2800052"/>
                      <a:pt x="3925080" y="2799481"/>
                      <a:pt x="3920508" y="2798623"/>
                    </a:cubicBezTo>
                    <a:cubicBezTo>
                      <a:pt x="3918318" y="2798147"/>
                      <a:pt x="3915746" y="2796242"/>
                      <a:pt x="3913746" y="2795099"/>
                    </a:cubicBezTo>
                    <a:cubicBezTo>
                      <a:pt x="3908126" y="2792051"/>
                      <a:pt x="3902601" y="2788908"/>
                      <a:pt x="3896791" y="2786336"/>
                    </a:cubicBezTo>
                    <a:cubicBezTo>
                      <a:pt x="3883647" y="2780431"/>
                      <a:pt x="3869835" y="2775573"/>
                      <a:pt x="3856119" y="2771287"/>
                    </a:cubicBezTo>
                    <a:cubicBezTo>
                      <a:pt x="3879932" y="2765000"/>
                      <a:pt x="3902887" y="2756618"/>
                      <a:pt x="3927271" y="2752618"/>
                    </a:cubicBezTo>
                    <a:cubicBezTo>
                      <a:pt x="3944130" y="2749855"/>
                      <a:pt x="3960990" y="2746903"/>
                      <a:pt x="3977849" y="2743855"/>
                    </a:cubicBezTo>
                    <a:cubicBezTo>
                      <a:pt x="4018711" y="2736330"/>
                      <a:pt x="4058716" y="2728996"/>
                      <a:pt x="4100245" y="2726043"/>
                    </a:cubicBezTo>
                    <a:cubicBezTo>
                      <a:pt x="4124058" y="2724328"/>
                      <a:pt x="4147489" y="2722043"/>
                      <a:pt x="4171397" y="2724328"/>
                    </a:cubicBezTo>
                    <a:cubicBezTo>
                      <a:pt x="4200639" y="2727091"/>
                      <a:pt x="4229881" y="2732044"/>
                      <a:pt x="4257979" y="2740902"/>
                    </a:cubicBezTo>
                    <a:cubicBezTo>
                      <a:pt x="4261218" y="2741950"/>
                      <a:pt x="4265028" y="2742712"/>
                      <a:pt x="4268171" y="2744236"/>
                    </a:cubicBezTo>
                    <a:cubicBezTo>
                      <a:pt x="4274457" y="2747284"/>
                      <a:pt x="4278077" y="2753380"/>
                      <a:pt x="4282744" y="2758809"/>
                    </a:cubicBezTo>
                    <a:cubicBezTo>
                      <a:pt x="4293889" y="2771763"/>
                      <a:pt x="4303318" y="2785384"/>
                      <a:pt x="4312367" y="2799862"/>
                    </a:cubicBezTo>
                    <a:cubicBezTo>
                      <a:pt x="4316082" y="2805862"/>
                      <a:pt x="4319892" y="2811768"/>
                      <a:pt x="4322844" y="2818245"/>
                    </a:cubicBezTo>
                    <a:cubicBezTo>
                      <a:pt x="4325512" y="2824055"/>
                      <a:pt x="4324845" y="2824722"/>
                      <a:pt x="4322273" y="2830151"/>
                    </a:cubicBezTo>
                    <a:cubicBezTo>
                      <a:pt x="4318558" y="2837962"/>
                      <a:pt x="4314558" y="2845105"/>
                      <a:pt x="4313224" y="2853773"/>
                    </a:cubicBezTo>
                    <a:cubicBezTo>
                      <a:pt x="4311605" y="2863965"/>
                      <a:pt x="4312462" y="2875109"/>
                      <a:pt x="4312843" y="2885396"/>
                    </a:cubicBezTo>
                    <a:cubicBezTo>
                      <a:pt x="4313605" y="2904922"/>
                      <a:pt x="4321606" y="2924830"/>
                      <a:pt x="4330369" y="2942261"/>
                    </a:cubicBezTo>
                    <a:cubicBezTo>
                      <a:pt x="4337227" y="2956072"/>
                      <a:pt x="4347800" y="2965787"/>
                      <a:pt x="4359230" y="2975788"/>
                    </a:cubicBezTo>
                    <a:cubicBezTo>
                      <a:pt x="4366564" y="2982170"/>
                      <a:pt x="4373994" y="2988457"/>
                      <a:pt x="4382662" y="2993124"/>
                    </a:cubicBezTo>
                    <a:cubicBezTo>
                      <a:pt x="4391329" y="2997886"/>
                      <a:pt x="4401331" y="3000553"/>
                      <a:pt x="4409713" y="3005506"/>
                    </a:cubicBezTo>
                    <a:cubicBezTo>
                      <a:pt x="4413141" y="3007507"/>
                      <a:pt x="4417618" y="3010269"/>
                      <a:pt x="4420095" y="3013412"/>
                    </a:cubicBezTo>
                    <a:cubicBezTo>
                      <a:pt x="4422000" y="3015794"/>
                      <a:pt x="4422571" y="3020175"/>
                      <a:pt x="4426953" y="3019318"/>
                    </a:cubicBezTo>
                    <a:cubicBezTo>
                      <a:pt x="4433620" y="3017984"/>
                      <a:pt x="4428858" y="3002268"/>
                      <a:pt x="4428858" y="2998934"/>
                    </a:cubicBezTo>
                    <a:cubicBezTo>
                      <a:pt x="4428858" y="2998458"/>
                      <a:pt x="4428858" y="2998077"/>
                      <a:pt x="4428763" y="2997601"/>
                    </a:cubicBezTo>
                    <a:cubicBezTo>
                      <a:pt x="4428572" y="2995505"/>
                      <a:pt x="4428286" y="2987314"/>
                      <a:pt x="4427905" y="2982932"/>
                    </a:cubicBezTo>
                    <a:cubicBezTo>
                      <a:pt x="4427619" y="2979598"/>
                      <a:pt x="4427239" y="2976265"/>
                      <a:pt x="4426953" y="2972931"/>
                    </a:cubicBezTo>
                    <a:cubicBezTo>
                      <a:pt x="4426857" y="2972169"/>
                      <a:pt x="4426476" y="2963978"/>
                      <a:pt x="4426476" y="2967216"/>
                    </a:cubicBezTo>
                    <a:cubicBezTo>
                      <a:pt x="4425048" y="2937688"/>
                      <a:pt x="4427143" y="2910923"/>
                      <a:pt x="4416475" y="2882539"/>
                    </a:cubicBezTo>
                    <a:cubicBezTo>
                      <a:pt x="4410856" y="2867489"/>
                      <a:pt x="4404093" y="2856726"/>
                      <a:pt x="4392187" y="2846058"/>
                    </a:cubicBezTo>
                    <a:cubicBezTo>
                      <a:pt x="4381614" y="2836723"/>
                      <a:pt x="4370946" y="2829580"/>
                      <a:pt x="4359040" y="2822531"/>
                    </a:cubicBezTo>
                    <a:cubicBezTo>
                      <a:pt x="4353706" y="2820055"/>
                      <a:pt x="4344657" y="2816435"/>
                      <a:pt x="4339990" y="2812435"/>
                    </a:cubicBezTo>
                    <a:cubicBezTo>
                      <a:pt x="4337132" y="2809958"/>
                      <a:pt x="4335037" y="2805101"/>
                      <a:pt x="4332655" y="2802053"/>
                    </a:cubicBezTo>
                    <a:cubicBezTo>
                      <a:pt x="4329512" y="2798147"/>
                      <a:pt x="4326178" y="2794337"/>
                      <a:pt x="4322940" y="2790432"/>
                    </a:cubicBezTo>
                    <a:cubicBezTo>
                      <a:pt x="4313224" y="2778716"/>
                      <a:pt x="4305414" y="2765667"/>
                      <a:pt x="4296174" y="2753570"/>
                    </a:cubicBezTo>
                    <a:cubicBezTo>
                      <a:pt x="4372279" y="2780812"/>
                      <a:pt x="4444574" y="2826246"/>
                      <a:pt x="4507153" y="2877300"/>
                    </a:cubicBezTo>
                    <a:cubicBezTo>
                      <a:pt x="4521250" y="2888825"/>
                      <a:pt x="4536014" y="2899779"/>
                      <a:pt x="4549825" y="2911590"/>
                    </a:cubicBezTo>
                    <a:cubicBezTo>
                      <a:pt x="4558874" y="2919401"/>
                      <a:pt x="4569923" y="2927211"/>
                      <a:pt x="4577067" y="2936736"/>
                    </a:cubicBezTo>
                    <a:cubicBezTo>
                      <a:pt x="4579829" y="2940451"/>
                      <a:pt x="4579829" y="2944070"/>
                      <a:pt x="4580781" y="2948833"/>
                    </a:cubicBezTo>
                    <a:cubicBezTo>
                      <a:pt x="4588211" y="2989504"/>
                      <a:pt x="4605070" y="3029890"/>
                      <a:pt x="4637646" y="3056656"/>
                    </a:cubicBezTo>
                    <a:cubicBezTo>
                      <a:pt x="4670412" y="3083611"/>
                      <a:pt x="4710798" y="3092660"/>
                      <a:pt x="4752231" y="3093518"/>
                    </a:cubicBezTo>
                    <a:cubicBezTo>
                      <a:pt x="4782045" y="3094184"/>
                      <a:pt x="4811763" y="3090374"/>
                      <a:pt x="4840909" y="3084373"/>
                    </a:cubicBezTo>
                    <a:cubicBezTo>
                      <a:pt x="4855673" y="3081326"/>
                      <a:pt x="4869770" y="3077135"/>
                      <a:pt x="4883867" y="3071991"/>
                    </a:cubicBezTo>
                    <a:cubicBezTo>
                      <a:pt x="4887963" y="3070467"/>
                      <a:pt x="4907584" y="3067038"/>
                      <a:pt x="4907108" y="3061704"/>
                    </a:cubicBezTo>
                    <a:cubicBezTo>
                      <a:pt x="4906727" y="3057799"/>
                      <a:pt x="4894249" y="3052941"/>
                      <a:pt x="4890535" y="3050560"/>
                    </a:cubicBezTo>
                    <a:cubicBezTo>
                      <a:pt x="4879105" y="3043130"/>
                      <a:pt x="4869294" y="3033605"/>
                      <a:pt x="4858912" y="3024842"/>
                    </a:cubicBezTo>
                    <a:cubicBezTo>
                      <a:pt x="4848148" y="3015794"/>
                      <a:pt x="4837480" y="3006650"/>
                      <a:pt x="4826431" y="2997791"/>
                    </a:cubicBezTo>
                    <a:cubicBezTo>
                      <a:pt x="4799380" y="2976170"/>
                      <a:pt x="4772234" y="2954643"/>
                      <a:pt x="4741087" y="2938831"/>
                    </a:cubicBezTo>
                    <a:cubicBezTo>
                      <a:pt x="4721371" y="2928830"/>
                      <a:pt x="4700034" y="2919210"/>
                      <a:pt x="4678032" y="2915686"/>
                    </a:cubicBezTo>
                    <a:cubicBezTo>
                      <a:pt x="4662697" y="2913304"/>
                      <a:pt x="4646314" y="2912828"/>
                      <a:pt x="4630788" y="2912543"/>
                    </a:cubicBezTo>
                    <a:cubicBezTo>
                      <a:pt x="4623358" y="2912447"/>
                      <a:pt x="4616024" y="2913114"/>
                      <a:pt x="4608690" y="2913876"/>
                    </a:cubicBezTo>
                    <a:cubicBezTo>
                      <a:pt x="4602498" y="2914447"/>
                      <a:pt x="4596307" y="2915305"/>
                      <a:pt x="4590116" y="2916162"/>
                    </a:cubicBezTo>
                    <a:cubicBezTo>
                      <a:pt x="4582877" y="2917210"/>
                      <a:pt x="4580115" y="2913019"/>
                      <a:pt x="4574971" y="2908256"/>
                    </a:cubicBezTo>
                    <a:cubicBezTo>
                      <a:pt x="4561731" y="2895969"/>
                      <a:pt x="4548206" y="2884158"/>
                      <a:pt x="4534014" y="2873014"/>
                    </a:cubicBezTo>
                    <a:cubicBezTo>
                      <a:pt x="4526203" y="2866918"/>
                      <a:pt x="4518583" y="2860631"/>
                      <a:pt x="4510297" y="2855011"/>
                    </a:cubicBezTo>
                    <a:cubicBezTo>
                      <a:pt x="4530490" y="2855107"/>
                      <a:pt x="4551064" y="2849487"/>
                      <a:pt x="4571352" y="2848249"/>
                    </a:cubicBezTo>
                    <a:cubicBezTo>
                      <a:pt x="4581353" y="2847677"/>
                      <a:pt x="4594402" y="2846248"/>
                      <a:pt x="4604213" y="2849106"/>
                    </a:cubicBezTo>
                    <a:cubicBezTo>
                      <a:pt x="4608499" y="2850344"/>
                      <a:pt x="4612690" y="2852630"/>
                      <a:pt x="4616691" y="2854535"/>
                    </a:cubicBezTo>
                    <a:cubicBezTo>
                      <a:pt x="4628788" y="2860345"/>
                      <a:pt x="4641551" y="2863965"/>
                      <a:pt x="4654600" y="2867013"/>
                    </a:cubicBezTo>
                    <a:cubicBezTo>
                      <a:pt x="4677841" y="2872537"/>
                      <a:pt x="4702225" y="2873871"/>
                      <a:pt x="4726038" y="2872823"/>
                    </a:cubicBezTo>
                    <a:cubicBezTo>
                      <a:pt x="4777473" y="2870537"/>
                      <a:pt x="4823193" y="2848630"/>
                      <a:pt x="4856721" y="2809577"/>
                    </a:cubicBezTo>
                    <a:cubicBezTo>
                      <a:pt x="4864436" y="2800624"/>
                      <a:pt x="4871580" y="2791575"/>
                      <a:pt x="4877962" y="2781478"/>
                    </a:cubicBezTo>
                    <a:cubicBezTo>
                      <a:pt x="4880629" y="2777287"/>
                      <a:pt x="4883200" y="2773096"/>
                      <a:pt x="4885867" y="2769001"/>
                    </a:cubicBezTo>
                    <a:cubicBezTo>
                      <a:pt x="4890439" y="2761762"/>
                      <a:pt x="4899202" y="2752713"/>
                      <a:pt x="4885105" y="2752999"/>
                    </a:cubicBezTo>
                    <a:cubicBezTo>
                      <a:pt x="4859769" y="2753475"/>
                      <a:pt x="4835194" y="2752903"/>
                      <a:pt x="4809858" y="2750998"/>
                    </a:cubicBezTo>
                    <a:cubicBezTo>
                      <a:pt x="4772329" y="2748141"/>
                      <a:pt x="4733181" y="2746236"/>
                      <a:pt x="4696415" y="2755666"/>
                    </a:cubicBezTo>
                    <a:cubicBezTo>
                      <a:pt x="4672031" y="2761952"/>
                      <a:pt x="4649647" y="2773287"/>
                      <a:pt x="4631264" y="2790622"/>
                    </a:cubicBezTo>
                    <a:cubicBezTo>
                      <a:pt x="4621358" y="2799957"/>
                      <a:pt x="4613929" y="2810815"/>
                      <a:pt x="4607261" y="2822722"/>
                    </a:cubicBezTo>
                    <a:cubicBezTo>
                      <a:pt x="4605927" y="2825008"/>
                      <a:pt x="4604689" y="2827389"/>
                      <a:pt x="4603451" y="2829770"/>
                    </a:cubicBezTo>
                    <a:cubicBezTo>
                      <a:pt x="4600784" y="2834723"/>
                      <a:pt x="4601070" y="2835485"/>
                      <a:pt x="4595069" y="2835200"/>
                    </a:cubicBezTo>
                    <a:cubicBezTo>
                      <a:pt x="4572304" y="2834152"/>
                      <a:pt x="4549063" y="2833485"/>
                      <a:pt x="4526394" y="2836343"/>
                    </a:cubicBezTo>
                    <a:cubicBezTo>
                      <a:pt x="4522107" y="2836914"/>
                      <a:pt x="4517916" y="2837581"/>
                      <a:pt x="4513630" y="2838057"/>
                    </a:cubicBezTo>
                    <a:cubicBezTo>
                      <a:pt x="4507058" y="2838914"/>
                      <a:pt x="4496962" y="2842343"/>
                      <a:pt x="4490675" y="2840819"/>
                    </a:cubicBezTo>
                    <a:cubicBezTo>
                      <a:pt x="4486008" y="2839771"/>
                      <a:pt x="4479626" y="2833485"/>
                      <a:pt x="4475435" y="2830723"/>
                    </a:cubicBezTo>
                    <a:cubicBezTo>
                      <a:pt x="4470577" y="2827484"/>
                      <a:pt x="4465910" y="2824055"/>
                      <a:pt x="4461052" y="2820626"/>
                    </a:cubicBezTo>
                    <a:cubicBezTo>
                      <a:pt x="4446765" y="2810625"/>
                      <a:pt x="4431715" y="2801576"/>
                      <a:pt x="4416856" y="2792528"/>
                    </a:cubicBezTo>
                    <a:cubicBezTo>
                      <a:pt x="4384757" y="2772906"/>
                      <a:pt x="4351039" y="2753380"/>
                      <a:pt x="4316177" y="2739187"/>
                    </a:cubicBezTo>
                    <a:cubicBezTo>
                      <a:pt x="4342180" y="2734806"/>
                      <a:pt x="4368374" y="2730520"/>
                      <a:pt x="4394282" y="2725281"/>
                    </a:cubicBezTo>
                    <a:cubicBezTo>
                      <a:pt x="4429906" y="2717947"/>
                      <a:pt x="4463243" y="2708136"/>
                      <a:pt x="4497342" y="2695658"/>
                    </a:cubicBezTo>
                    <a:cubicBezTo>
                      <a:pt x="4503343" y="2693468"/>
                      <a:pt x="4507915" y="2694420"/>
                      <a:pt x="4514202" y="2695087"/>
                    </a:cubicBezTo>
                    <a:cubicBezTo>
                      <a:pt x="4525441" y="2696230"/>
                      <a:pt x="4536490" y="2696611"/>
                      <a:pt x="4547825" y="2696325"/>
                    </a:cubicBezTo>
                    <a:cubicBezTo>
                      <a:pt x="4571828" y="2695753"/>
                      <a:pt x="4595736" y="2695182"/>
                      <a:pt x="4618691" y="2687276"/>
                    </a:cubicBezTo>
                    <a:cubicBezTo>
                      <a:pt x="4637931" y="2680704"/>
                      <a:pt x="4657648" y="2671751"/>
                      <a:pt x="4673650" y="2658987"/>
                    </a:cubicBezTo>
                    <a:cubicBezTo>
                      <a:pt x="4691367" y="2644795"/>
                      <a:pt x="4704702" y="2627269"/>
                      <a:pt x="4717656" y="2608886"/>
                    </a:cubicBezTo>
                    <a:cubicBezTo>
                      <a:pt x="4728229" y="2593836"/>
                      <a:pt x="4739087" y="2578786"/>
                      <a:pt x="4746802" y="2562022"/>
                    </a:cubicBezTo>
                    <a:cubicBezTo>
                      <a:pt x="4747850" y="2559736"/>
                      <a:pt x="4759756" y="2538020"/>
                      <a:pt x="4753565" y="2536686"/>
                    </a:cubicBezTo>
                    <a:cubicBezTo>
                      <a:pt x="4751374" y="2536210"/>
                      <a:pt x="4749183" y="2539639"/>
                      <a:pt x="4747183" y="2540591"/>
                    </a:cubicBezTo>
                    <a:cubicBezTo>
                      <a:pt x="4742325" y="2542782"/>
                      <a:pt x="4734039" y="2541925"/>
                      <a:pt x="4728705" y="2542306"/>
                    </a:cubicBezTo>
                    <a:cubicBezTo>
                      <a:pt x="4698320" y="2544496"/>
                      <a:pt x="4668983" y="2548402"/>
                      <a:pt x="4639646" y="2556688"/>
                    </a:cubicBezTo>
                    <a:cubicBezTo>
                      <a:pt x="4596974" y="2568690"/>
                      <a:pt x="4550968" y="2593550"/>
                      <a:pt x="4524203" y="2630126"/>
                    </a:cubicBezTo>
                    <a:cubicBezTo>
                      <a:pt x="4520012" y="2635841"/>
                      <a:pt x="4516583" y="2642223"/>
                      <a:pt x="4512964" y="2648319"/>
                    </a:cubicBezTo>
                    <a:cubicBezTo>
                      <a:pt x="4506772" y="2658796"/>
                      <a:pt x="4503439" y="2671941"/>
                      <a:pt x="4496485" y="2681752"/>
                    </a:cubicBezTo>
                    <a:cubicBezTo>
                      <a:pt x="4489723" y="2691277"/>
                      <a:pt x="4470101" y="2693563"/>
                      <a:pt x="4459052" y="2696801"/>
                    </a:cubicBezTo>
                    <a:cubicBezTo>
                      <a:pt x="4448384" y="2699849"/>
                      <a:pt x="4437525" y="2702707"/>
                      <a:pt x="4426667" y="2705088"/>
                    </a:cubicBezTo>
                    <a:cubicBezTo>
                      <a:pt x="4397044" y="2711660"/>
                      <a:pt x="4366850" y="2716518"/>
                      <a:pt x="4336941" y="2721090"/>
                    </a:cubicBezTo>
                    <a:cubicBezTo>
                      <a:pt x="4324178" y="2723090"/>
                      <a:pt x="4311415" y="2725281"/>
                      <a:pt x="4298841" y="2728329"/>
                    </a:cubicBezTo>
                    <a:cubicBezTo>
                      <a:pt x="4290840" y="2730329"/>
                      <a:pt x="4284364" y="2725471"/>
                      <a:pt x="4276553" y="2722423"/>
                    </a:cubicBezTo>
                    <a:cubicBezTo>
                      <a:pt x="4259694" y="2715946"/>
                      <a:pt x="4242168" y="2709565"/>
                      <a:pt x="4224832" y="2704421"/>
                    </a:cubicBezTo>
                    <a:cubicBezTo>
                      <a:pt x="4230071" y="2697563"/>
                      <a:pt x="4233786" y="2689277"/>
                      <a:pt x="4238548" y="2682037"/>
                    </a:cubicBezTo>
                    <a:cubicBezTo>
                      <a:pt x="4244168" y="2673751"/>
                      <a:pt x="4249978" y="2665369"/>
                      <a:pt x="4255979" y="2657368"/>
                    </a:cubicBezTo>
                    <a:cubicBezTo>
                      <a:pt x="4262742" y="2648319"/>
                      <a:pt x="4270171" y="2639556"/>
                      <a:pt x="4277601" y="2631079"/>
                    </a:cubicBezTo>
                    <a:cubicBezTo>
                      <a:pt x="4283697" y="2624030"/>
                      <a:pt x="4288650" y="2618029"/>
                      <a:pt x="4297317" y="2614981"/>
                    </a:cubicBezTo>
                    <a:cubicBezTo>
                      <a:pt x="4326083" y="2605076"/>
                      <a:pt x="4353706" y="2594979"/>
                      <a:pt x="4377708" y="2575738"/>
                    </a:cubicBezTo>
                    <a:cubicBezTo>
                      <a:pt x="4401331" y="2556879"/>
                      <a:pt x="4419904" y="2532781"/>
                      <a:pt x="4434001" y="2506206"/>
                    </a:cubicBezTo>
                    <a:cubicBezTo>
                      <a:pt x="4442669" y="2489823"/>
                      <a:pt x="4449527" y="2472011"/>
                      <a:pt x="4455718" y="2454580"/>
                    </a:cubicBezTo>
                    <a:cubicBezTo>
                      <a:pt x="4458576" y="2446484"/>
                      <a:pt x="4476959" y="2398574"/>
                      <a:pt x="4465339" y="2398478"/>
                    </a:cubicBezTo>
                    <a:cubicBezTo>
                      <a:pt x="4463433" y="2398478"/>
                      <a:pt x="4455051" y="2405241"/>
                      <a:pt x="4453147" y="2406194"/>
                    </a:cubicBezTo>
                    <a:cubicBezTo>
                      <a:pt x="4446860" y="2409241"/>
                      <a:pt x="4440573" y="2412385"/>
                      <a:pt x="4434192" y="2415433"/>
                    </a:cubicBezTo>
                    <a:cubicBezTo>
                      <a:pt x="4418475" y="2422767"/>
                      <a:pt x="4402473" y="2429244"/>
                      <a:pt x="4387138" y="2437436"/>
                    </a:cubicBezTo>
                    <a:cubicBezTo>
                      <a:pt x="4363992" y="2449818"/>
                      <a:pt x="4342371" y="2467249"/>
                      <a:pt x="4324273" y="2486108"/>
                    </a:cubicBezTo>
                    <a:cubicBezTo>
                      <a:pt x="4300556" y="2510873"/>
                      <a:pt x="4287507" y="2537924"/>
                      <a:pt x="4283792" y="2572024"/>
                    </a:cubicBezTo>
                    <a:cubicBezTo>
                      <a:pt x="4282840" y="2580692"/>
                      <a:pt x="4282458" y="2589264"/>
                      <a:pt x="4283697" y="2597932"/>
                    </a:cubicBezTo>
                    <a:cubicBezTo>
                      <a:pt x="4284554" y="2604218"/>
                      <a:pt x="4285888" y="2604409"/>
                      <a:pt x="4282458" y="2608600"/>
                    </a:cubicBezTo>
                    <a:cubicBezTo>
                      <a:pt x="4276839" y="2615553"/>
                      <a:pt x="4269505" y="2621078"/>
                      <a:pt x="4263885" y="2628126"/>
                    </a:cubicBezTo>
                    <a:cubicBezTo>
                      <a:pt x="4249502" y="2645843"/>
                      <a:pt x="4235215" y="2663559"/>
                      <a:pt x="4222927" y="2682895"/>
                    </a:cubicBezTo>
                    <a:cubicBezTo>
                      <a:pt x="4219784" y="2687753"/>
                      <a:pt x="4214164" y="2700040"/>
                      <a:pt x="4209878" y="2700611"/>
                    </a:cubicBezTo>
                    <a:cubicBezTo>
                      <a:pt x="4207497" y="2700992"/>
                      <a:pt x="4203877" y="2699183"/>
                      <a:pt x="4201496" y="2698611"/>
                    </a:cubicBezTo>
                    <a:cubicBezTo>
                      <a:pt x="4196257" y="2697373"/>
                      <a:pt x="4190923" y="2696325"/>
                      <a:pt x="4185589" y="2695277"/>
                    </a:cubicBezTo>
                    <a:cubicBezTo>
                      <a:pt x="4145203" y="2687753"/>
                      <a:pt x="4103865" y="2694325"/>
                      <a:pt x="4063764" y="2700326"/>
                    </a:cubicBezTo>
                    <a:cubicBezTo>
                      <a:pt x="4011472" y="2708231"/>
                      <a:pt x="3958704" y="2714042"/>
                      <a:pt x="3907078" y="2725757"/>
                    </a:cubicBezTo>
                    <a:cubicBezTo>
                      <a:pt x="3859929" y="2736425"/>
                      <a:pt x="3813352" y="2749475"/>
                      <a:pt x="3766108" y="2760238"/>
                    </a:cubicBezTo>
                    <a:cubicBezTo>
                      <a:pt x="3740581" y="2766048"/>
                      <a:pt x="3714673" y="2770334"/>
                      <a:pt x="3689337" y="2777002"/>
                    </a:cubicBezTo>
                    <a:cubicBezTo>
                      <a:pt x="3659333" y="2784908"/>
                      <a:pt x="3629520" y="2792337"/>
                      <a:pt x="3599040" y="2798243"/>
                    </a:cubicBezTo>
                    <a:cubicBezTo>
                      <a:pt x="3542175" y="2809387"/>
                      <a:pt x="3486168" y="2825103"/>
                      <a:pt x="3429209" y="2835390"/>
                    </a:cubicBezTo>
                    <a:cubicBezTo>
                      <a:pt x="3380917" y="2844058"/>
                      <a:pt x="3332340" y="2853202"/>
                      <a:pt x="3283667" y="2859107"/>
                    </a:cubicBezTo>
                    <a:cubicBezTo>
                      <a:pt x="3188131" y="2870728"/>
                      <a:pt x="3091833" y="2878157"/>
                      <a:pt x="2995631" y="2874538"/>
                    </a:cubicBezTo>
                    <a:cubicBezTo>
                      <a:pt x="2940862" y="2872442"/>
                      <a:pt x="2887236" y="2862155"/>
                      <a:pt x="2833991" y="2849963"/>
                    </a:cubicBezTo>
                    <a:cubicBezTo>
                      <a:pt x="2782271" y="2838152"/>
                      <a:pt x="2732455" y="2820531"/>
                      <a:pt x="2681496" y="2805958"/>
                    </a:cubicBezTo>
                    <a:cubicBezTo>
                      <a:pt x="2650540" y="2797100"/>
                      <a:pt x="2620060" y="2787479"/>
                      <a:pt x="2590437" y="2774811"/>
                    </a:cubicBezTo>
                    <a:cubicBezTo>
                      <a:pt x="2568435" y="2765381"/>
                      <a:pt x="2546622" y="2755570"/>
                      <a:pt x="2524524" y="2746427"/>
                    </a:cubicBezTo>
                    <a:cubicBezTo>
                      <a:pt x="2488329" y="2731472"/>
                      <a:pt x="2452325" y="2715661"/>
                      <a:pt x="2416892" y="2698992"/>
                    </a:cubicBezTo>
                    <a:cubicBezTo>
                      <a:pt x="2396889" y="2689562"/>
                      <a:pt x="2376125" y="2682895"/>
                      <a:pt x="2355170" y="2675846"/>
                    </a:cubicBezTo>
                    <a:cubicBezTo>
                      <a:pt x="2332596" y="2668226"/>
                      <a:pt x="2311355" y="2657653"/>
                      <a:pt x="2289162" y="2649081"/>
                    </a:cubicBezTo>
                    <a:cubicBezTo>
                      <a:pt x="2260301" y="2637937"/>
                      <a:pt x="2230297" y="2630126"/>
                      <a:pt x="2201055" y="2620220"/>
                    </a:cubicBezTo>
                    <a:cubicBezTo>
                      <a:pt x="2181720" y="2613648"/>
                      <a:pt x="2162765" y="2605933"/>
                      <a:pt x="2143524" y="2598979"/>
                    </a:cubicBezTo>
                    <a:cubicBezTo>
                      <a:pt x="2114949" y="2588597"/>
                      <a:pt x="2085517" y="2579263"/>
                      <a:pt x="2055323" y="2575358"/>
                    </a:cubicBezTo>
                    <a:cubicBezTo>
                      <a:pt x="2058752" y="2567833"/>
                      <a:pt x="2060371" y="2559451"/>
                      <a:pt x="2063229" y="2551736"/>
                    </a:cubicBezTo>
                    <a:cubicBezTo>
                      <a:pt x="2069610" y="2534400"/>
                      <a:pt x="2083231" y="2519636"/>
                      <a:pt x="2094566" y="2505349"/>
                    </a:cubicBezTo>
                    <a:cubicBezTo>
                      <a:pt x="2110854" y="2484679"/>
                      <a:pt x="2127522" y="2465153"/>
                      <a:pt x="2146572" y="2446865"/>
                    </a:cubicBezTo>
                    <a:cubicBezTo>
                      <a:pt x="2153049" y="2440579"/>
                      <a:pt x="2159622" y="2434292"/>
                      <a:pt x="2166289" y="2428196"/>
                    </a:cubicBezTo>
                    <a:cubicBezTo>
                      <a:pt x="2170766" y="2424100"/>
                      <a:pt x="2171623" y="2424005"/>
                      <a:pt x="2177624" y="2425244"/>
                    </a:cubicBezTo>
                    <a:cubicBezTo>
                      <a:pt x="2183529" y="2426482"/>
                      <a:pt x="2189435" y="2427529"/>
                      <a:pt x="2195340" y="2428577"/>
                    </a:cubicBezTo>
                    <a:cubicBezTo>
                      <a:pt x="2212295" y="2431435"/>
                      <a:pt x="2229630" y="2432863"/>
                      <a:pt x="2246871" y="2433149"/>
                    </a:cubicBezTo>
                    <a:cubicBezTo>
                      <a:pt x="2267540" y="2433435"/>
                      <a:pt x="2288495" y="2432292"/>
                      <a:pt x="2308878" y="2428768"/>
                    </a:cubicBezTo>
                    <a:cubicBezTo>
                      <a:pt x="2317832" y="2427244"/>
                      <a:pt x="2326500" y="2425053"/>
                      <a:pt x="2335263" y="2422672"/>
                    </a:cubicBezTo>
                    <a:cubicBezTo>
                      <a:pt x="2338025" y="2421910"/>
                      <a:pt x="2346312" y="2418290"/>
                      <a:pt x="2348693" y="2419338"/>
                    </a:cubicBezTo>
                    <a:cubicBezTo>
                      <a:pt x="2351550" y="2420576"/>
                      <a:pt x="2356027" y="2427625"/>
                      <a:pt x="2358885" y="2429911"/>
                    </a:cubicBezTo>
                    <a:cubicBezTo>
                      <a:pt x="2418892" y="2478774"/>
                      <a:pt x="2501379" y="2452199"/>
                      <a:pt x="2549099" y="2399050"/>
                    </a:cubicBezTo>
                    <a:cubicBezTo>
                      <a:pt x="2561386" y="2385429"/>
                      <a:pt x="2573007" y="2370094"/>
                      <a:pt x="2581674" y="2353806"/>
                    </a:cubicBezTo>
                    <a:cubicBezTo>
                      <a:pt x="2583484" y="2350377"/>
                      <a:pt x="2584913" y="2347234"/>
                      <a:pt x="2587294" y="2344090"/>
                    </a:cubicBezTo>
                    <a:cubicBezTo>
                      <a:pt x="2589199" y="2341614"/>
                      <a:pt x="2595295" y="2336947"/>
                      <a:pt x="2595866" y="2334089"/>
                    </a:cubicBezTo>
                    <a:cubicBezTo>
                      <a:pt x="2597200" y="2327327"/>
                      <a:pt x="2587294" y="2328470"/>
                      <a:pt x="2582627" y="2327707"/>
                    </a:cubicBezTo>
                    <a:cubicBezTo>
                      <a:pt x="2548337" y="2321802"/>
                      <a:pt x="2515857" y="2308562"/>
                      <a:pt x="2480709" y="2308181"/>
                    </a:cubicBezTo>
                    <a:cubicBezTo>
                      <a:pt x="2446038" y="2307800"/>
                      <a:pt x="2411272" y="2316754"/>
                      <a:pt x="2381554" y="2334851"/>
                    </a:cubicBezTo>
                    <a:cubicBezTo>
                      <a:pt x="2360028" y="2347900"/>
                      <a:pt x="2331929" y="2374285"/>
                      <a:pt x="2340597" y="2402193"/>
                    </a:cubicBezTo>
                    <a:cubicBezTo>
                      <a:pt x="2315641" y="2407051"/>
                      <a:pt x="2291162" y="2411528"/>
                      <a:pt x="2265730" y="2413242"/>
                    </a:cubicBezTo>
                    <a:cubicBezTo>
                      <a:pt x="2239536" y="2415052"/>
                      <a:pt x="2214771" y="2412575"/>
                      <a:pt x="2188959" y="2407813"/>
                    </a:cubicBezTo>
                    <a:cubicBezTo>
                      <a:pt x="2217915" y="2381810"/>
                      <a:pt x="2247061" y="2358664"/>
                      <a:pt x="2281827" y="2340757"/>
                    </a:cubicBezTo>
                    <a:cubicBezTo>
                      <a:pt x="2305164" y="2328755"/>
                      <a:pt x="2328309" y="2317230"/>
                      <a:pt x="2353074" y="2307991"/>
                    </a:cubicBezTo>
                    <a:cubicBezTo>
                      <a:pt x="2390984" y="2293799"/>
                      <a:pt x="2428703" y="2278940"/>
                      <a:pt x="2467565" y="2267795"/>
                    </a:cubicBezTo>
                    <a:cubicBezTo>
                      <a:pt x="2490044" y="2261318"/>
                      <a:pt x="2512237" y="2253698"/>
                      <a:pt x="2535192" y="2248936"/>
                    </a:cubicBezTo>
                    <a:cubicBezTo>
                      <a:pt x="2548623" y="2246174"/>
                      <a:pt x="2562815" y="2245411"/>
                      <a:pt x="2576436" y="2243792"/>
                    </a:cubicBezTo>
                    <a:cubicBezTo>
                      <a:pt x="2589961" y="2242268"/>
                      <a:pt x="2603391" y="2239220"/>
                      <a:pt x="2617012" y="2238173"/>
                    </a:cubicBezTo>
                    <a:cubicBezTo>
                      <a:pt x="2645778" y="2235886"/>
                      <a:pt x="2674638" y="2233600"/>
                      <a:pt x="2703404" y="2231600"/>
                    </a:cubicBezTo>
                    <a:cubicBezTo>
                      <a:pt x="2735408" y="2229505"/>
                      <a:pt x="2767507" y="2230076"/>
                      <a:pt x="2799511" y="2229028"/>
                    </a:cubicBezTo>
                    <a:cubicBezTo>
                      <a:pt x="2930480" y="2224742"/>
                      <a:pt x="3061734" y="2223504"/>
                      <a:pt x="3192798" y="2217979"/>
                    </a:cubicBezTo>
                    <a:cubicBezTo>
                      <a:pt x="3202419" y="2217599"/>
                      <a:pt x="3212039" y="2216836"/>
                      <a:pt x="3221659" y="2216170"/>
                    </a:cubicBezTo>
                    <a:cubicBezTo>
                      <a:pt x="3228517" y="2215694"/>
                      <a:pt x="3236423" y="2213884"/>
                      <a:pt x="3243090" y="2214646"/>
                    </a:cubicBezTo>
                    <a:cubicBezTo>
                      <a:pt x="3249091" y="2215312"/>
                      <a:pt x="3245376" y="2213693"/>
                      <a:pt x="3248043" y="2217884"/>
                    </a:cubicBezTo>
                    <a:cubicBezTo>
                      <a:pt x="3248900" y="2219218"/>
                      <a:pt x="3249377" y="2221218"/>
                      <a:pt x="3249948" y="2222647"/>
                    </a:cubicBezTo>
                    <a:cubicBezTo>
                      <a:pt x="3253568" y="2231791"/>
                      <a:pt x="3256997" y="2240935"/>
                      <a:pt x="3260331" y="2250174"/>
                    </a:cubicBezTo>
                    <a:cubicBezTo>
                      <a:pt x="3267474" y="2270272"/>
                      <a:pt x="3274237" y="2290750"/>
                      <a:pt x="3276428" y="2312182"/>
                    </a:cubicBezTo>
                    <a:cubicBezTo>
                      <a:pt x="3277285" y="2320278"/>
                      <a:pt x="3277475" y="2328470"/>
                      <a:pt x="3277571" y="2336566"/>
                    </a:cubicBezTo>
                    <a:cubicBezTo>
                      <a:pt x="3277666" y="2342566"/>
                      <a:pt x="3279666" y="2359711"/>
                      <a:pt x="3275380" y="2363617"/>
                    </a:cubicBezTo>
                    <a:cubicBezTo>
                      <a:pt x="3273761" y="2365141"/>
                      <a:pt x="3266427" y="2365807"/>
                      <a:pt x="3264331" y="2366474"/>
                    </a:cubicBezTo>
                    <a:cubicBezTo>
                      <a:pt x="3259378" y="2368094"/>
                      <a:pt x="3255378" y="2370094"/>
                      <a:pt x="3251377" y="2373237"/>
                    </a:cubicBezTo>
                    <a:cubicBezTo>
                      <a:pt x="3244900" y="2378285"/>
                      <a:pt x="3239185" y="2384000"/>
                      <a:pt x="3234613" y="2390858"/>
                    </a:cubicBezTo>
                    <a:cubicBezTo>
                      <a:pt x="3222707" y="2408289"/>
                      <a:pt x="3216992" y="2428958"/>
                      <a:pt x="3218325" y="2450104"/>
                    </a:cubicBezTo>
                    <a:cubicBezTo>
                      <a:pt x="3220421" y="2486013"/>
                      <a:pt x="3239471" y="2522589"/>
                      <a:pt x="3264807" y="2547830"/>
                    </a:cubicBezTo>
                    <a:cubicBezTo>
                      <a:pt x="3268522" y="2551450"/>
                      <a:pt x="3273285" y="2554688"/>
                      <a:pt x="3276142" y="2559070"/>
                    </a:cubicBezTo>
                    <a:cubicBezTo>
                      <a:pt x="3279762" y="2564689"/>
                      <a:pt x="3281286" y="2572595"/>
                      <a:pt x="3286715" y="2563737"/>
                    </a:cubicBezTo>
                    <a:cubicBezTo>
                      <a:pt x="3292239" y="2554688"/>
                      <a:pt x="3295383" y="2543925"/>
                      <a:pt x="3300145" y="2534495"/>
                    </a:cubicBezTo>
                    <a:cubicBezTo>
                      <a:pt x="3307289" y="2520017"/>
                      <a:pt x="3314242" y="2505635"/>
                      <a:pt x="3319290" y="2490299"/>
                    </a:cubicBezTo>
                    <a:cubicBezTo>
                      <a:pt x="3325005" y="2473059"/>
                      <a:pt x="3331768" y="2454104"/>
                      <a:pt x="3331578" y="2435721"/>
                    </a:cubicBezTo>
                    <a:cubicBezTo>
                      <a:pt x="3331482" y="2421529"/>
                      <a:pt x="3329196" y="2406384"/>
                      <a:pt x="3323767" y="2393144"/>
                    </a:cubicBezTo>
                    <a:cubicBezTo>
                      <a:pt x="3320338" y="2384762"/>
                      <a:pt x="3314528" y="2377237"/>
                      <a:pt x="3307194" y="2371903"/>
                    </a:cubicBezTo>
                    <a:cubicBezTo>
                      <a:pt x="3304241" y="2369808"/>
                      <a:pt x="3301288" y="2368665"/>
                      <a:pt x="3298049" y="2367141"/>
                    </a:cubicBezTo>
                    <a:cubicBezTo>
                      <a:pt x="3293763" y="2365141"/>
                      <a:pt x="3294525" y="2366855"/>
                      <a:pt x="3293668" y="2362855"/>
                    </a:cubicBezTo>
                    <a:cubicBezTo>
                      <a:pt x="3292716" y="2358569"/>
                      <a:pt x="3295192" y="2350758"/>
                      <a:pt x="3295383" y="2345995"/>
                    </a:cubicBezTo>
                    <a:cubicBezTo>
                      <a:pt x="3295764" y="2337137"/>
                      <a:pt x="3296145" y="2328279"/>
                      <a:pt x="3296049" y="2319421"/>
                    </a:cubicBezTo>
                    <a:cubicBezTo>
                      <a:pt x="3295764" y="2301419"/>
                      <a:pt x="3292525" y="2283892"/>
                      <a:pt x="3288048" y="2266462"/>
                    </a:cubicBezTo>
                    <a:cubicBezTo>
                      <a:pt x="3283476" y="2248078"/>
                      <a:pt x="3278714" y="2228933"/>
                      <a:pt x="3270713" y="2211693"/>
                    </a:cubicBezTo>
                    <a:cubicBezTo>
                      <a:pt x="3280238" y="2211217"/>
                      <a:pt x="3291477" y="2207121"/>
                      <a:pt x="3300716" y="2208645"/>
                    </a:cubicBezTo>
                    <a:cubicBezTo>
                      <a:pt x="3308051" y="2209883"/>
                      <a:pt x="3316338" y="2213884"/>
                      <a:pt x="3322910" y="2216932"/>
                    </a:cubicBezTo>
                    <a:cubicBezTo>
                      <a:pt x="3338912" y="2224171"/>
                      <a:pt x="3354342" y="2233315"/>
                      <a:pt x="3369297" y="2242363"/>
                    </a:cubicBezTo>
                    <a:cubicBezTo>
                      <a:pt x="3396538" y="2258937"/>
                      <a:pt x="3423875" y="2278558"/>
                      <a:pt x="3443877" y="2303800"/>
                    </a:cubicBezTo>
                    <a:cubicBezTo>
                      <a:pt x="3446163" y="2306657"/>
                      <a:pt x="3450259" y="2310848"/>
                      <a:pt x="3449688" y="2313611"/>
                    </a:cubicBezTo>
                    <a:cubicBezTo>
                      <a:pt x="3449116" y="2316182"/>
                      <a:pt x="3444544" y="2320754"/>
                      <a:pt x="3443211" y="2322945"/>
                    </a:cubicBezTo>
                    <a:cubicBezTo>
                      <a:pt x="3438258" y="2331041"/>
                      <a:pt x="3436638" y="2338947"/>
                      <a:pt x="3435876" y="2348282"/>
                    </a:cubicBezTo>
                    <a:cubicBezTo>
                      <a:pt x="3434352" y="2365712"/>
                      <a:pt x="3435114" y="2382953"/>
                      <a:pt x="3439877" y="2399907"/>
                    </a:cubicBezTo>
                    <a:cubicBezTo>
                      <a:pt x="3445687" y="2420671"/>
                      <a:pt x="3455688" y="2439340"/>
                      <a:pt x="3469976" y="2455438"/>
                    </a:cubicBezTo>
                    <a:cubicBezTo>
                      <a:pt x="3485216" y="2472678"/>
                      <a:pt x="3504933" y="2483536"/>
                      <a:pt x="3525792" y="2492776"/>
                    </a:cubicBezTo>
                    <a:cubicBezTo>
                      <a:pt x="3549700" y="2503444"/>
                      <a:pt x="3574179" y="2510587"/>
                      <a:pt x="3599897" y="2514874"/>
                    </a:cubicBezTo>
                    <a:cubicBezTo>
                      <a:pt x="3613422" y="2517160"/>
                      <a:pt x="3628377" y="2517064"/>
                      <a:pt x="3642093" y="2516684"/>
                    </a:cubicBezTo>
                    <a:cubicBezTo>
                      <a:pt x="3647998" y="2516493"/>
                      <a:pt x="3666191" y="2517731"/>
                      <a:pt x="3660762" y="2508302"/>
                    </a:cubicBezTo>
                    <a:cubicBezTo>
                      <a:pt x="3659999" y="2506968"/>
                      <a:pt x="3656666" y="2504492"/>
                      <a:pt x="3655523" y="2503063"/>
                    </a:cubicBezTo>
                    <a:cubicBezTo>
                      <a:pt x="3652665" y="2499443"/>
                      <a:pt x="3649903" y="2495538"/>
                      <a:pt x="3647617" y="2491537"/>
                    </a:cubicBezTo>
                    <a:cubicBezTo>
                      <a:pt x="3612374" y="2431340"/>
                      <a:pt x="3601325" y="2347043"/>
                      <a:pt x="3534079" y="2311324"/>
                    </a:cubicBezTo>
                    <a:cubicBezTo>
                      <a:pt x="3517982" y="2302752"/>
                      <a:pt x="3501027" y="2299037"/>
                      <a:pt x="3482930" y="2299228"/>
                    </a:cubicBezTo>
                    <a:cubicBezTo>
                      <a:pt x="3481501" y="2299228"/>
                      <a:pt x="3480168" y="2299228"/>
                      <a:pt x="3478739" y="2299228"/>
                    </a:cubicBezTo>
                    <a:cubicBezTo>
                      <a:pt x="3476072" y="2299323"/>
                      <a:pt x="3466356" y="2302371"/>
                      <a:pt x="3464928" y="2301704"/>
                    </a:cubicBezTo>
                    <a:cubicBezTo>
                      <a:pt x="3463785" y="2301228"/>
                      <a:pt x="3462261" y="2297894"/>
                      <a:pt x="3461403" y="2296656"/>
                    </a:cubicBezTo>
                    <a:cubicBezTo>
                      <a:pt x="3457784" y="2291798"/>
                      <a:pt x="3454164" y="2286940"/>
                      <a:pt x="3450259" y="2282178"/>
                    </a:cubicBezTo>
                    <a:cubicBezTo>
                      <a:pt x="3422065" y="2247316"/>
                      <a:pt x="3380822" y="2217789"/>
                      <a:pt x="3339388" y="2200644"/>
                    </a:cubicBezTo>
                    <a:cubicBezTo>
                      <a:pt x="3415588" y="2192262"/>
                      <a:pt x="3487978" y="2164163"/>
                      <a:pt x="3561130" y="2143018"/>
                    </a:cubicBezTo>
                    <a:cubicBezTo>
                      <a:pt x="3624566" y="2124730"/>
                      <a:pt x="3688860" y="2109585"/>
                      <a:pt x="3754202" y="2099393"/>
                    </a:cubicBezTo>
                    <a:cubicBezTo>
                      <a:pt x="3801827" y="2091964"/>
                      <a:pt x="3850499" y="2090440"/>
                      <a:pt x="3898696" y="2092821"/>
                    </a:cubicBezTo>
                    <a:cubicBezTo>
                      <a:pt x="3909745" y="2093392"/>
                      <a:pt x="3920794" y="2093773"/>
                      <a:pt x="3931843" y="2093964"/>
                    </a:cubicBezTo>
                    <a:cubicBezTo>
                      <a:pt x="3941654" y="2094059"/>
                      <a:pt x="3949941" y="2097774"/>
                      <a:pt x="3958323" y="2102917"/>
                    </a:cubicBezTo>
                    <a:cubicBezTo>
                      <a:pt x="3968324" y="2109109"/>
                      <a:pt x="3977373" y="2117110"/>
                      <a:pt x="3986326" y="2124539"/>
                    </a:cubicBezTo>
                    <a:cubicBezTo>
                      <a:pt x="3992136" y="2129302"/>
                      <a:pt x="3997851" y="2134160"/>
                      <a:pt x="4003281" y="2139398"/>
                    </a:cubicBezTo>
                    <a:cubicBezTo>
                      <a:pt x="4005852" y="2141875"/>
                      <a:pt x="4009091" y="2144542"/>
                      <a:pt x="4011282" y="2147495"/>
                    </a:cubicBezTo>
                    <a:cubicBezTo>
                      <a:pt x="4015282" y="2152924"/>
                      <a:pt x="4012520" y="2149019"/>
                      <a:pt x="4014044" y="2154353"/>
                    </a:cubicBezTo>
                    <a:cubicBezTo>
                      <a:pt x="4021188" y="2178641"/>
                      <a:pt x="4021759" y="2202835"/>
                      <a:pt x="4035189" y="2225219"/>
                    </a:cubicBezTo>
                    <a:cubicBezTo>
                      <a:pt x="4047096" y="2245031"/>
                      <a:pt x="4065955" y="2255889"/>
                      <a:pt x="4085386" y="2267224"/>
                    </a:cubicBezTo>
                    <a:cubicBezTo>
                      <a:pt x="4106913" y="2279702"/>
                      <a:pt x="4130916" y="2287036"/>
                      <a:pt x="4155490" y="2291132"/>
                    </a:cubicBezTo>
                    <a:cubicBezTo>
                      <a:pt x="4162634" y="2292370"/>
                      <a:pt x="4171397" y="2294846"/>
                      <a:pt x="4178636" y="2294846"/>
                    </a:cubicBezTo>
                    <a:cubicBezTo>
                      <a:pt x="4192828" y="2294751"/>
                      <a:pt x="4191495" y="2285607"/>
                      <a:pt x="4188351" y="2275034"/>
                    </a:cubicBezTo>
                    <a:cubicBezTo>
                      <a:pt x="4180541" y="2248269"/>
                      <a:pt x="4171587" y="2222170"/>
                      <a:pt x="4157776" y="2197786"/>
                    </a:cubicBezTo>
                    <a:cubicBezTo>
                      <a:pt x="4141393" y="2168735"/>
                      <a:pt x="4113961" y="2151876"/>
                      <a:pt x="4082243" y="2143780"/>
                    </a:cubicBezTo>
                    <a:cubicBezTo>
                      <a:pt x="4067289" y="2139970"/>
                      <a:pt x="4052430" y="2138636"/>
                      <a:pt x="4037094" y="2139494"/>
                    </a:cubicBezTo>
                    <a:cubicBezTo>
                      <a:pt x="4034332" y="2139684"/>
                      <a:pt x="4031951" y="2140065"/>
                      <a:pt x="4029189" y="2140636"/>
                    </a:cubicBezTo>
                    <a:cubicBezTo>
                      <a:pt x="4025093" y="2141589"/>
                      <a:pt x="4027379" y="2142541"/>
                      <a:pt x="4023855" y="2141017"/>
                    </a:cubicBezTo>
                    <a:cubicBezTo>
                      <a:pt x="4021473" y="2139970"/>
                      <a:pt x="4019187" y="2137112"/>
                      <a:pt x="4017282" y="2135493"/>
                    </a:cubicBezTo>
                    <a:cubicBezTo>
                      <a:pt x="4000328" y="2121491"/>
                      <a:pt x="3982325" y="2105965"/>
                      <a:pt x="3963561" y="2094631"/>
                    </a:cubicBezTo>
                    <a:cubicBezTo>
                      <a:pt x="4010043" y="2096821"/>
                      <a:pt x="4056621" y="2097679"/>
                      <a:pt x="4103007" y="2101870"/>
                    </a:cubicBezTo>
                    <a:cubicBezTo>
                      <a:pt x="4119866" y="2103394"/>
                      <a:pt x="4136821" y="2103489"/>
                      <a:pt x="4153585" y="2105299"/>
                    </a:cubicBezTo>
                    <a:cubicBezTo>
                      <a:pt x="4167015" y="2106728"/>
                      <a:pt x="4180446" y="2108918"/>
                      <a:pt x="4193876" y="2110252"/>
                    </a:cubicBezTo>
                    <a:cubicBezTo>
                      <a:pt x="4215879" y="2112442"/>
                      <a:pt x="4237881" y="2115490"/>
                      <a:pt x="4259789" y="2118348"/>
                    </a:cubicBezTo>
                    <a:cubicBezTo>
                      <a:pt x="4309795" y="2124920"/>
                      <a:pt x="4359611" y="2135588"/>
                      <a:pt x="4408760" y="2146637"/>
                    </a:cubicBezTo>
                    <a:cubicBezTo>
                      <a:pt x="4420571" y="2149304"/>
                      <a:pt x="4432287" y="2152066"/>
                      <a:pt x="4444193" y="2154162"/>
                    </a:cubicBezTo>
                    <a:cubicBezTo>
                      <a:pt x="4454956" y="2156067"/>
                      <a:pt x="4464576" y="2163306"/>
                      <a:pt x="4474101" y="2168545"/>
                    </a:cubicBezTo>
                    <a:cubicBezTo>
                      <a:pt x="4498771" y="2182165"/>
                      <a:pt x="4523727" y="2195310"/>
                      <a:pt x="4548397" y="2208931"/>
                    </a:cubicBezTo>
                    <a:cubicBezTo>
                      <a:pt x="4559350" y="2215027"/>
                      <a:pt x="4571352" y="2219408"/>
                      <a:pt x="4581829" y="2226266"/>
                    </a:cubicBezTo>
                    <a:cubicBezTo>
                      <a:pt x="4591354" y="2232553"/>
                      <a:pt x="4601260" y="2237887"/>
                      <a:pt x="4611166" y="2243602"/>
                    </a:cubicBezTo>
                    <a:cubicBezTo>
                      <a:pt x="4617453" y="2247221"/>
                      <a:pt x="4624787" y="2250650"/>
                      <a:pt x="4629359" y="2256270"/>
                    </a:cubicBezTo>
                    <a:cubicBezTo>
                      <a:pt x="4633931" y="2261985"/>
                      <a:pt x="4637741" y="2268367"/>
                      <a:pt x="4642027" y="2274272"/>
                    </a:cubicBezTo>
                    <a:cubicBezTo>
                      <a:pt x="4646885" y="2280940"/>
                      <a:pt x="4651933" y="2287607"/>
                      <a:pt x="4656981" y="2294179"/>
                    </a:cubicBezTo>
                    <a:cubicBezTo>
                      <a:pt x="4676031" y="2318659"/>
                      <a:pt x="4700225" y="2341138"/>
                      <a:pt x="4729467" y="2352473"/>
                    </a:cubicBezTo>
                    <a:cubicBezTo>
                      <a:pt x="4758042" y="2363617"/>
                      <a:pt x="4787093" y="2365903"/>
                      <a:pt x="4817382" y="2362664"/>
                    </a:cubicBezTo>
                    <a:cubicBezTo>
                      <a:pt x="4838338" y="2360378"/>
                      <a:pt x="4859959" y="2352377"/>
                      <a:pt x="4879295" y="2344090"/>
                    </a:cubicBezTo>
                    <a:cubicBezTo>
                      <a:pt x="4888820" y="2339995"/>
                      <a:pt x="4901107" y="2334661"/>
                      <a:pt x="4908346" y="2327041"/>
                    </a:cubicBezTo>
                    <a:cubicBezTo>
                      <a:pt x="4910346" y="2324945"/>
                      <a:pt x="4915776" y="2319707"/>
                      <a:pt x="4913299" y="2316658"/>
                    </a:cubicBezTo>
                    <a:cubicBezTo>
                      <a:pt x="4912251" y="2315420"/>
                      <a:pt x="4907489" y="2315230"/>
                      <a:pt x="4905870" y="2314849"/>
                    </a:cubicBezTo>
                    <a:cubicBezTo>
                      <a:pt x="4886153" y="2310658"/>
                      <a:pt x="4868817" y="2297228"/>
                      <a:pt x="4852339" y="2286464"/>
                    </a:cubicBezTo>
                    <a:cubicBezTo>
                      <a:pt x="4834813" y="2275034"/>
                      <a:pt x="4817478" y="2263604"/>
                      <a:pt x="4799475" y="2252841"/>
                    </a:cubicBezTo>
                    <a:cubicBezTo>
                      <a:pt x="4774615" y="2237982"/>
                      <a:pt x="4744516" y="2223504"/>
                      <a:pt x="4714989" y="2222456"/>
                    </a:cubicBezTo>
                    <a:cubicBezTo>
                      <a:pt x="4701654" y="2221980"/>
                      <a:pt x="4688509" y="2224552"/>
                      <a:pt x="4675841" y="2228076"/>
                    </a:cubicBezTo>
                    <a:cubicBezTo>
                      <a:pt x="4668507" y="2230171"/>
                      <a:pt x="4661458" y="2232648"/>
                      <a:pt x="4654410" y="2235601"/>
                    </a:cubicBezTo>
                    <a:cubicBezTo>
                      <a:pt x="4651743" y="2236744"/>
                      <a:pt x="4647838" y="2239315"/>
                      <a:pt x="4645171" y="2239220"/>
                    </a:cubicBezTo>
                    <a:cubicBezTo>
                      <a:pt x="4638503" y="2239125"/>
                      <a:pt x="4628978" y="2233029"/>
                      <a:pt x="4622691" y="2230457"/>
                    </a:cubicBezTo>
                    <a:cubicBezTo>
                      <a:pt x="4616976" y="2228076"/>
                      <a:pt x="4611166" y="2225695"/>
                      <a:pt x="4605547" y="2223218"/>
                    </a:cubicBezTo>
                    <a:cubicBezTo>
                      <a:pt x="4597165" y="2219599"/>
                      <a:pt x="4588782" y="2215789"/>
                      <a:pt x="4580591" y="2211598"/>
                    </a:cubicBezTo>
                    <a:cubicBezTo>
                      <a:pt x="4566304" y="2204263"/>
                      <a:pt x="4551635" y="2197596"/>
                      <a:pt x="4537729" y="2189500"/>
                    </a:cubicBezTo>
                    <a:cubicBezTo>
                      <a:pt x="4522107" y="2180356"/>
                      <a:pt x="4506487" y="2171307"/>
                      <a:pt x="4491247" y="2161591"/>
                    </a:cubicBezTo>
                    <a:cubicBezTo>
                      <a:pt x="4510392" y="2167211"/>
                      <a:pt x="4532871" y="2168259"/>
                      <a:pt x="4552683" y="2169211"/>
                    </a:cubicBezTo>
                    <a:cubicBezTo>
                      <a:pt x="4576686" y="2170354"/>
                      <a:pt x="4600498" y="2170069"/>
                      <a:pt x="4624501" y="2168926"/>
                    </a:cubicBezTo>
                    <a:cubicBezTo>
                      <a:pt x="4658315" y="2167402"/>
                      <a:pt x="4692224" y="2163878"/>
                      <a:pt x="4725752" y="2159496"/>
                    </a:cubicBezTo>
                    <a:cubicBezTo>
                      <a:pt x="4785950" y="2151686"/>
                      <a:pt x="4845862" y="2142446"/>
                      <a:pt x="4906346" y="2137398"/>
                    </a:cubicBezTo>
                    <a:cubicBezTo>
                      <a:pt x="4975783" y="2131588"/>
                      <a:pt x="5046744" y="2124539"/>
                      <a:pt x="5115515" y="2138922"/>
                    </a:cubicBezTo>
                    <a:cubicBezTo>
                      <a:pt x="5143042" y="2144637"/>
                      <a:pt x="5167045" y="2157972"/>
                      <a:pt x="5191905" y="2170640"/>
                    </a:cubicBezTo>
                    <a:cubicBezTo>
                      <a:pt x="5205621" y="2177594"/>
                      <a:pt x="5217147" y="2189500"/>
                      <a:pt x="5230387" y="2197882"/>
                    </a:cubicBezTo>
                    <a:cubicBezTo>
                      <a:pt x="5242198" y="2205407"/>
                      <a:pt x="5253913" y="2212931"/>
                      <a:pt x="5266486" y="2219123"/>
                    </a:cubicBezTo>
                    <a:cubicBezTo>
                      <a:pt x="5310396" y="2240840"/>
                      <a:pt x="5359450" y="2242363"/>
                      <a:pt x="5405075" y="2225123"/>
                    </a:cubicBezTo>
                    <a:cubicBezTo>
                      <a:pt x="5426411" y="2217122"/>
                      <a:pt x="5445842" y="2208074"/>
                      <a:pt x="5464797" y="2195500"/>
                    </a:cubicBezTo>
                    <a:cubicBezTo>
                      <a:pt x="5469655" y="2190071"/>
                      <a:pt x="5519756" y="2153495"/>
                      <a:pt x="5511946" y="2148066"/>
                    </a:cubicBezTo>
                    <a:close/>
                    <a:moveTo>
                      <a:pt x="2371077" y="912864"/>
                    </a:moveTo>
                    <a:cubicBezTo>
                      <a:pt x="2370981" y="913340"/>
                      <a:pt x="2370981" y="913816"/>
                      <a:pt x="2370886" y="914293"/>
                    </a:cubicBezTo>
                    <a:cubicBezTo>
                      <a:pt x="2370600" y="911054"/>
                      <a:pt x="2370696" y="910578"/>
                      <a:pt x="2371077" y="912864"/>
                    </a:cubicBezTo>
                    <a:cubicBezTo>
                      <a:pt x="2370981" y="913340"/>
                      <a:pt x="2370981" y="912388"/>
                      <a:pt x="2371077" y="912864"/>
                    </a:cubicBezTo>
                    <a:close/>
                    <a:moveTo>
                      <a:pt x="2367933" y="959536"/>
                    </a:moveTo>
                    <a:cubicBezTo>
                      <a:pt x="2368124" y="957822"/>
                      <a:pt x="2368314" y="956107"/>
                      <a:pt x="2368410" y="954393"/>
                    </a:cubicBezTo>
                    <a:cubicBezTo>
                      <a:pt x="2369838" y="955726"/>
                      <a:pt x="2370219" y="953440"/>
                      <a:pt x="2369648" y="957346"/>
                    </a:cubicBezTo>
                    <a:cubicBezTo>
                      <a:pt x="2369553" y="958489"/>
                      <a:pt x="2367743" y="962108"/>
                      <a:pt x="2367933" y="959536"/>
                    </a:cubicBezTo>
                    <a:cubicBezTo>
                      <a:pt x="2368124" y="958298"/>
                      <a:pt x="2367933" y="959727"/>
                      <a:pt x="2367933" y="959536"/>
                    </a:cubicBezTo>
                    <a:close/>
                    <a:moveTo>
                      <a:pt x="1532781" y="1506462"/>
                    </a:moveTo>
                    <a:cubicBezTo>
                      <a:pt x="1532877" y="1505890"/>
                      <a:pt x="1533067" y="1505224"/>
                      <a:pt x="1533162" y="1504652"/>
                    </a:cubicBezTo>
                    <a:cubicBezTo>
                      <a:pt x="1532781" y="1507224"/>
                      <a:pt x="1532496" y="1509796"/>
                      <a:pt x="1532114" y="1512463"/>
                    </a:cubicBezTo>
                    <a:cubicBezTo>
                      <a:pt x="1532305" y="1510367"/>
                      <a:pt x="1532496" y="1508462"/>
                      <a:pt x="1532781" y="1506462"/>
                    </a:cubicBezTo>
                    <a:cubicBezTo>
                      <a:pt x="1532877" y="1505795"/>
                      <a:pt x="1532496" y="1508462"/>
                      <a:pt x="1532781" y="1506462"/>
                    </a:cubicBezTo>
                    <a:close/>
                    <a:moveTo>
                      <a:pt x="1251603" y="389275"/>
                    </a:moveTo>
                    <a:cubicBezTo>
                      <a:pt x="1251794" y="389179"/>
                      <a:pt x="1251508" y="389370"/>
                      <a:pt x="1251603" y="389275"/>
                    </a:cubicBezTo>
                    <a:cubicBezTo>
                      <a:pt x="1251603" y="389179"/>
                      <a:pt x="1251603" y="389275"/>
                      <a:pt x="1251603" y="389275"/>
                    </a:cubicBezTo>
                    <a:close/>
                    <a:moveTo>
                      <a:pt x="816311" y="1430833"/>
                    </a:moveTo>
                    <a:cubicBezTo>
                      <a:pt x="816025" y="1430167"/>
                      <a:pt x="815739" y="1429595"/>
                      <a:pt x="815453" y="1428928"/>
                    </a:cubicBezTo>
                    <a:cubicBezTo>
                      <a:pt x="817549" y="1433119"/>
                      <a:pt x="819549" y="1437025"/>
                      <a:pt x="821645" y="1441311"/>
                    </a:cubicBezTo>
                    <a:cubicBezTo>
                      <a:pt x="819835" y="1437787"/>
                      <a:pt x="818025" y="1434358"/>
                      <a:pt x="816311" y="1430833"/>
                    </a:cubicBezTo>
                    <a:cubicBezTo>
                      <a:pt x="815930" y="1430167"/>
                      <a:pt x="818025" y="1434358"/>
                      <a:pt x="816311" y="1430833"/>
                    </a:cubicBezTo>
                    <a:close/>
                    <a:moveTo>
                      <a:pt x="4429429" y="3011031"/>
                    </a:moveTo>
                    <a:cubicBezTo>
                      <a:pt x="4429429" y="3011793"/>
                      <a:pt x="4429429" y="3010936"/>
                      <a:pt x="4429429" y="3011031"/>
                    </a:cubicBezTo>
                    <a:cubicBezTo>
                      <a:pt x="4429429" y="3011126"/>
                      <a:pt x="4429429" y="3011031"/>
                      <a:pt x="4429429" y="3011031"/>
                    </a:cubicBezTo>
                    <a:close/>
                    <a:moveTo>
                      <a:pt x="4429429" y="3010650"/>
                    </a:moveTo>
                    <a:cubicBezTo>
                      <a:pt x="4429334" y="3010555"/>
                      <a:pt x="4429334" y="3009793"/>
                      <a:pt x="4429429" y="3010650"/>
                    </a:cubicBezTo>
                    <a:cubicBezTo>
                      <a:pt x="4429429" y="3010650"/>
                      <a:pt x="4429429" y="3010460"/>
                      <a:pt x="4429429" y="3010650"/>
                    </a:cubicBezTo>
                    <a:close/>
                    <a:moveTo>
                      <a:pt x="4421238" y="3011031"/>
                    </a:moveTo>
                    <a:cubicBezTo>
                      <a:pt x="4421238" y="3011031"/>
                      <a:pt x="4421142" y="3011126"/>
                      <a:pt x="4421238" y="3011031"/>
                    </a:cubicBezTo>
                    <a:cubicBezTo>
                      <a:pt x="4421238" y="3011031"/>
                      <a:pt x="4421238" y="3011031"/>
                      <a:pt x="4421238" y="3011031"/>
                    </a:cubicBezTo>
                    <a:close/>
                    <a:moveTo>
                      <a:pt x="4164253" y="2232267"/>
                    </a:moveTo>
                    <a:cubicBezTo>
                      <a:pt x="4163967" y="2231981"/>
                      <a:pt x="4163872" y="2231600"/>
                      <a:pt x="4163777" y="2231124"/>
                    </a:cubicBezTo>
                    <a:cubicBezTo>
                      <a:pt x="4163967" y="2231505"/>
                      <a:pt x="4164063" y="2231886"/>
                      <a:pt x="4164253" y="2232267"/>
                    </a:cubicBezTo>
                    <a:cubicBezTo>
                      <a:pt x="4164253" y="2232172"/>
                      <a:pt x="4164063" y="2231886"/>
                      <a:pt x="4164253" y="2232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AA76506-0CB2-45AF-AC4D-BD87F2AEC461}"/>
                  </a:ext>
                </a:extLst>
              </p:cNvPr>
              <p:cNvSpPr/>
              <p:nvPr/>
            </p:nvSpPr>
            <p:spPr>
              <a:xfrm>
                <a:off x="5880883" y="4167713"/>
                <a:ext cx="9525" cy="9525"/>
              </a:xfrm>
              <a:custGeom>
                <a:avLst/>
                <a:gdLst>
                  <a:gd name="connsiteX0" fmla="*/ 7186 w 9525"/>
                  <a:gd name="connsiteY0" fmla="*/ 7571 h 9525"/>
                  <a:gd name="connsiteX1" fmla="*/ 7186 w 9525"/>
                  <a:gd name="connsiteY1" fmla="*/ 7571 h 9525"/>
                  <a:gd name="connsiteX2" fmla="*/ 7186 w 9525"/>
                  <a:gd name="connsiteY2" fmla="*/ 7571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9525">
                    <a:moveTo>
                      <a:pt x="7186" y="7571"/>
                    </a:moveTo>
                    <a:cubicBezTo>
                      <a:pt x="7091" y="6714"/>
                      <a:pt x="7186" y="7380"/>
                      <a:pt x="7186" y="7571"/>
                    </a:cubicBezTo>
                    <a:cubicBezTo>
                      <a:pt x="7186" y="7475"/>
                      <a:pt x="7186" y="7475"/>
                      <a:pt x="7186" y="75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982AF49-880A-4D1B-B146-018512038DBB}"/>
                  </a:ext>
                </a:extLst>
              </p:cNvPr>
              <p:cNvSpPr/>
              <p:nvPr/>
            </p:nvSpPr>
            <p:spPr>
              <a:xfrm>
                <a:off x="5811255" y="3992046"/>
                <a:ext cx="9525" cy="9525"/>
              </a:xfrm>
              <a:custGeom>
                <a:avLst/>
                <a:gdLst>
                  <a:gd name="connsiteX0" fmla="*/ 7186 w 9525"/>
                  <a:gd name="connsiteY0" fmla="*/ 7215 h 9525"/>
                  <a:gd name="connsiteX1" fmla="*/ 7186 w 9525"/>
                  <a:gd name="connsiteY1" fmla="*/ 7215 h 9525"/>
                  <a:gd name="connsiteX2" fmla="*/ 7186 w 9525"/>
                  <a:gd name="connsiteY2" fmla="*/ 721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9525">
                    <a:moveTo>
                      <a:pt x="7186" y="7215"/>
                    </a:moveTo>
                    <a:cubicBezTo>
                      <a:pt x="7091" y="7120"/>
                      <a:pt x="7186" y="7120"/>
                      <a:pt x="7186" y="7215"/>
                    </a:cubicBezTo>
                    <a:cubicBezTo>
                      <a:pt x="7186" y="7120"/>
                      <a:pt x="7186" y="7215"/>
                      <a:pt x="7186" y="72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EE63BE6-82B7-4837-AEB1-8E6612F8EFC8}"/>
                  </a:ext>
                </a:extLst>
              </p:cNvPr>
              <p:cNvSpPr/>
              <p:nvPr/>
            </p:nvSpPr>
            <p:spPr>
              <a:xfrm>
                <a:off x="2624138" y="4206049"/>
                <a:ext cx="857250" cy="419100"/>
              </a:xfrm>
              <a:custGeom>
                <a:avLst/>
                <a:gdLst>
                  <a:gd name="connsiteX0" fmla="*/ 63341 w 857250"/>
                  <a:gd name="connsiteY0" fmla="*/ 316230 h 419100"/>
                  <a:gd name="connsiteX1" fmla="*/ 421862 w 857250"/>
                  <a:gd name="connsiteY1" fmla="*/ 83916 h 419100"/>
                  <a:gd name="connsiteX2" fmla="*/ 850868 w 857250"/>
                  <a:gd name="connsiteY2" fmla="*/ 7144 h 419100"/>
                  <a:gd name="connsiteX3" fmla="*/ 367189 w 857250"/>
                  <a:gd name="connsiteY3" fmla="*/ 128397 h 419100"/>
                  <a:gd name="connsiteX4" fmla="*/ 7144 w 857250"/>
                  <a:gd name="connsiteY4" fmla="*/ 416719 h 419100"/>
                  <a:gd name="connsiteX5" fmla="*/ 11811 w 857250"/>
                  <a:gd name="connsiteY5" fmla="*/ 396907 h 419100"/>
                  <a:gd name="connsiteX6" fmla="*/ 63341 w 857250"/>
                  <a:gd name="connsiteY6" fmla="*/ 31623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7250" h="419100">
                    <a:moveTo>
                      <a:pt x="63341" y="316230"/>
                    </a:moveTo>
                    <a:cubicBezTo>
                      <a:pt x="166973" y="217170"/>
                      <a:pt x="287179" y="133350"/>
                      <a:pt x="421862" y="83916"/>
                    </a:cubicBezTo>
                    <a:cubicBezTo>
                      <a:pt x="558641" y="33719"/>
                      <a:pt x="705803" y="20193"/>
                      <a:pt x="850868" y="7144"/>
                    </a:cubicBezTo>
                    <a:cubicBezTo>
                      <a:pt x="693706" y="38481"/>
                      <a:pt x="515112" y="66770"/>
                      <a:pt x="367189" y="128397"/>
                    </a:cubicBezTo>
                    <a:cubicBezTo>
                      <a:pt x="219266" y="189929"/>
                      <a:pt x="101060" y="286893"/>
                      <a:pt x="7144" y="416719"/>
                    </a:cubicBezTo>
                    <a:cubicBezTo>
                      <a:pt x="8668" y="410147"/>
                      <a:pt x="10287" y="403575"/>
                      <a:pt x="11811" y="396907"/>
                    </a:cubicBezTo>
                    <a:lnTo>
                      <a:pt x="63341" y="3162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827099FA-386A-4A6E-8B3B-54C7DF3D53F1}"/>
                  </a:ext>
                </a:extLst>
              </p:cNvPr>
              <p:cNvSpPr/>
              <p:nvPr/>
            </p:nvSpPr>
            <p:spPr>
              <a:xfrm>
                <a:off x="3256754" y="4159718"/>
                <a:ext cx="295275" cy="114300"/>
              </a:xfrm>
              <a:custGeom>
                <a:avLst/>
                <a:gdLst>
                  <a:gd name="connsiteX0" fmla="*/ 139957 w 295275"/>
                  <a:gd name="connsiteY0" fmla="*/ 7183 h 114300"/>
                  <a:gd name="connsiteX1" fmla="*/ 291976 w 295275"/>
                  <a:gd name="connsiteY1" fmla="*/ 42902 h 114300"/>
                  <a:gd name="connsiteX2" fmla="*/ 243208 w 295275"/>
                  <a:gd name="connsiteY2" fmla="*/ 66810 h 114300"/>
                  <a:gd name="connsiteX3" fmla="*/ 86807 w 295275"/>
                  <a:gd name="connsiteY3" fmla="*/ 108815 h 114300"/>
                  <a:gd name="connsiteX4" fmla="*/ 10607 w 295275"/>
                  <a:gd name="connsiteY4" fmla="*/ 86908 h 114300"/>
                  <a:gd name="connsiteX5" fmla="*/ 45469 w 295275"/>
                  <a:gd name="connsiteY5" fmla="*/ 31853 h 114300"/>
                  <a:gd name="connsiteX6" fmla="*/ 139957 w 295275"/>
                  <a:gd name="connsiteY6" fmla="*/ 718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275" h="114300">
                    <a:moveTo>
                      <a:pt x="139957" y="7183"/>
                    </a:moveTo>
                    <a:cubicBezTo>
                      <a:pt x="192535" y="8231"/>
                      <a:pt x="242160" y="27662"/>
                      <a:pt x="291976" y="42902"/>
                    </a:cubicBezTo>
                    <a:cubicBezTo>
                      <a:pt x="273973" y="43283"/>
                      <a:pt x="258448" y="56237"/>
                      <a:pt x="243208" y="66810"/>
                    </a:cubicBezTo>
                    <a:cubicBezTo>
                      <a:pt x="197202" y="98909"/>
                      <a:pt x="140719" y="113197"/>
                      <a:pt x="86807" y="108815"/>
                    </a:cubicBezTo>
                    <a:cubicBezTo>
                      <a:pt x="67567" y="107291"/>
                      <a:pt x="22704" y="104243"/>
                      <a:pt x="10607" y="86908"/>
                    </a:cubicBezTo>
                    <a:cubicBezTo>
                      <a:pt x="-3871" y="66239"/>
                      <a:pt x="30800" y="41092"/>
                      <a:pt x="45469" y="31853"/>
                    </a:cubicBezTo>
                    <a:cubicBezTo>
                      <a:pt x="73853" y="14232"/>
                      <a:pt x="107667" y="6517"/>
                      <a:pt x="139957" y="71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802BDE5D-C9E7-4A02-91CA-4C947C0379EF}"/>
                  </a:ext>
                </a:extLst>
              </p:cNvPr>
              <p:cNvSpPr/>
              <p:nvPr/>
            </p:nvSpPr>
            <p:spPr>
              <a:xfrm>
                <a:off x="3068095" y="4034790"/>
                <a:ext cx="209550" cy="266700"/>
              </a:xfrm>
              <a:custGeom>
                <a:avLst/>
                <a:gdLst>
                  <a:gd name="connsiteX0" fmla="*/ 88681 w 209550"/>
                  <a:gd name="connsiteY0" fmla="*/ 179261 h 266700"/>
                  <a:gd name="connsiteX1" fmla="*/ 69631 w 209550"/>
                  <a:gd name="connsiteY1" fmla="*/ 98679 h 266700"/>
                  <a:gd name="connsiteX2" fmla="*/ 126114 w 209550"/>
                  <a:gd name="connsiteY2" fmla="*/ 34290 h 266700"/>
                  <a:gd name="connsiteX3" fmla="*/ 209077 w 209550"/>
                  <a:gd name="connsiteY3" fmla="*/ 7144 h 266700"/>
                  <a:gd name="connsiteX4" fmla="*/ 205648 w 209550"/>
                  <a:gd name="connsiteY4" fmla="*/ 69818 h 266700"/>
                  <a:gd name="connsiteX5" fmla="*/ 176311 w 209550"/>
                  <a:gd name="connsiteY5" fmla="*/ 158687 h 266700"/>
                  <a:gd name="connsiteX6" fmla="*/ 118208 w 209550"/>
                  <a:gd name="connsiteY6" fmla="*/ 180308 h 266700"/>
                  <a:gd name="connsiteX7" fmla="*/ 90586 w 209550"/>
                  <a:gd name="connsiteY7" fmla="*/ 187738 h 266700"/>
                  <a:gd name="connsiteX8" fmla="*/ 73155 w 209550"/>
                  <a:gd name="connsiteY8" fmla="*/ 202597 h 266700"/>
                  <a:gd name="connsiteX9" fmla="*/ 7147 w 209550"/>
                  <a:gd name="connsiteY9" fmla="*/ 266319 h 266700"/>
                  <a:gd name="connsiteX10" fmla="*/ 36103 w 209550"/>
                  <a:gd name="connsiteY10" fmla="*/ 229933 h 266700"/>
                  <a:gd name="connsiteX11" fmla="*/ 88681 w 209550"/>
                  <a:gd name="connsiteY11" fmla="*/ 179261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9550" h="266700">
                    <a:moveTo>
                      <a:pt x="88681" y="179261"/>
                    </a:moveTo>
                    <a:cubicBezTo>
                      <a:pt x="66773" y="159925"/>
                      <a:pt x="60677" y="126492"/>
                      <a:pt x="69631" y="98679"/>
                    </a:cubicBezTo>
                    <a:cubicBezTo>
                      <a:pt x="78680" y="70866"/>
                      <a:pt x="100682" y="48673"/>
                      <a:pt x="126114" y="34290"/>
                    </a:cubicBezTo>
                    <a:cubicBezTo>
                      <a:pt x="151546" y="19907"/>
                      <a:pt x="180407" y="12668"/>
                      <a:pt x="209077" y="7144"/>
                    </a:cubicBezTo>
                    <a:cubicBezTo>
                      <a:pt x="207934" y="28004"/>
                      <a:pt x="206791" y="48958"/>
                      <a:pt x="205648" y="69818"/>
                    </a:cubicBezTo>
                    <a:cubicBezTo>
                      <a:pt x="203933" y="101822"/>
                      <a:pt x="200409" y="137541"/>
                      <a:pt x="176311" y="158687"/>
                    </a:cubicBezTo>
                    <a:cubicBezTo>
                      <a:pt x="160595" y="172498"/>
                      <a:pt x="138973" y="177165"/>
                      <a:pt x="118208" y="180308"/>
                    </a:cubicBezTo>
                    <a:cubicBezTo>
                      <a:pt x="108683" y="181737"/>
                      <a:pt x="98968" y="183071"/>
                      <a:pt x="90586" y="187738"/>
                    </a:cubicBezTo>
                    <a:cubicBezTo>
                      <a:pt x="83918" y="191453"/>
                      <a:pt x="78489" y="197072"/>
                      <a:pt x="73155" y="202597"/>
                    </a:cubicBezTo>
                    <a:cubicBezTo>
                      <a:pt x="52200" y="224123"/>
                      <a:pt x="31055" y="248126"/>
                      <a:pt x="7147" y="266319"/>
                    </a:cubicBezTo>
                    <a:cubicBezTo>
                      <a:pt x="6861" y="250984"/>
                      <a:pt x="25911" y="239458"/>
                      <a:pt x="36103" y="229933"/>
                    </a:cubicBezTo>
                    <a:cubicBezTo>
                      <a:pt x="54010" y="213455"/>
                      <a:pt x="71536" y="196501"/>
                      <a:pt x="88681" y="1792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BB609BB-DCC3-409E-9EE4-8AB3A0590073}"/>
                  </a:ext>
                </a:extLst>
              </p:cNvPr>
              <p:cNvSpPr/>
              <p:nvPr/>
            </p:nvSpPr>
            <p:spPr>
              <a:xfrm>
                <a:off x="2965037" y="4295921"/>
                <a:ext cx="390525" cy="123825"/>
              </a:xfrm>
              <a:custGeom>
                <a:avLst/>
                <a:gdLst>
                  <a:gd name="connsiteX0" fmla="*/ 110871 w 390525"/>
                  <a:gd name="connsiteY0" fmla="*/ 35668 h 123825"/>
                  <a:gd name="connsiteX1" fmla="*/ 149066 w 390525"/>
                  <a:gd name="connsiteY1" fmla="*/ 42526 h 123825"/>
                  <a:gd name="connsiteX2" fmla="*/ 185071 w 390525"/>
                  <a:gd name="connsiteY2" fmla="*/ 79482 h 123825"/>
                  <a:gd name="connsiteX3" fmla="*/ 286131 w 390525"/>
                  <a:gd name="connsiteY3" fmla="*/ 118630 h 123825"/>
                  <a:gd name="connsiteX4" fmla="*/ 391382 w 390525"/>
                  <a:gd name="connsiteY4" fmla="*/ 61194 h 123825"/>
                  <a:gd name="connsiteX5" fmla="*/ 239840 w 390525"/>
                  <a:gd name="connsiteY5" fmla="*/ 8045 h 123825"/>
                  <a:gd name="connsiteX6" fmla="*/ 187262 w 390525"/>
                  <a:gd name="connsiteY6" fmla="*/ 15855 h 123825"/>
                  <a:gd name="connsiteX7" fmla="*/ 7144 w 390525"/>
                  <a:gd name="connsiteY7" fmla="*/ 37382 h 123825"/>
                  <a:gd name="connsiteX8" fmla="*/ 110871 w 390525"/>
                  <a:gd name="connsiteY8" fmla="*/ 3566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0525" h="123825">
                    <a:moveTo>
                      <a:pt x="110871" y="35668"/>
                    </a:moveTo>
                    <a:cubicBezTo>
                      <a:pt x="124111" y="35953"/>
                      <a:pt x="137732" y="36715"/>
                      <a:pt x="149066" y="42526"/>
                    </a:cubicBezTo>
                    <a:cubicBezTo>
                      <a:pt x="164402" y="50431"/>
                      <a:pt x="173546" y="66528"/>
                      <a:pt x="185071" y="79482"/>
                    </a:cubicBezTo>
                    <a:cubicBezTo>
                      <a:pt x="209836" y="107486"/>
                      <a:pt x="247460" y="122059"/>
                      <a:pt x="286131" y="118630"/>
                    </a:cubicBezTo>
                    <a:cubicBezTo>
                      <a:pt x="324803" y="115201"/>
                      <a:pt x="364046" y="93770"/>
                      <a:pt x="391382" y="61194"/>
                    </a:cubicBezTo>
                    <a:cubicBezTo>
                      <a:pt x="354902" y="19665"/>
                      <a:pt x="297085" y="2902"/>
                      <a:pt x="239840" y="8045"/>
                    </a:cubicBezTo>
                    <a:cubicBezTo>
                      <a:pt x="222314" y="9569"/>
                      <a:pt x="204788" y="13093"/>
                      <a:pt x="187262" y="15855"/>
                    </a:cubicBezTo>
                    <a:cubicBezTo>
                      <a:pt x="162782" y="19856"/>
                      <a:pt x="11811" y="22237"/>
                      <a:pt x="7144" y="37382"/>
                    </a:cubicBezTo>
                    <a:cubicBezTo>
                      <a:pt x="40386" y="40430"/>
                      <a:pt x="76772" y="34810"/>
                      <a:pt x="110871" y="3566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2A2B4FD2-501C-411B-983B-7CE63853A29B}"/>
              </a:ext>
            </a:extLst>
          </p:cNvPr>
          <p:cNvSpPr/>
          <p:nvPr/>
        </p:nvSpPr>
        <p:spPr>
          <a:xfrm>
            <a:off x="4519561" y="3495057"/>
            <a:ext cx="833266" cy="827853"/>
          </a:xfrm>
          <a:prstGeom prst="ellipse">
            <a:avLst/>
          </a:prstGeom>
          <a:solidFill>
            <a:schemeClr val="bg1"/>
          </a:solidFill>
          <a:ln w="19050">
            <a:solidFill>
              <a:srgbClr val="A13A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18288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URPOSE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US Women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N=250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D04068BD-E2D5-437E-82ED-D3300996C9C0}"/>
              </a:ext>
            </a:extLst>
          </p:cNvPr>
          <p:cNvSpPr/>
          <p:nvPr/>
        </p:nvSpPr>
        <p:spPr>
          <a:xfrm>
            <a:off x="6753574" y="3745265"/>
            <a:ext cx="833266" cy="833266"/>
          </a:xfrm>
          <a:prstGeom prst="ellipse">
            <a:avLst/>
          </a:prstGeom>
          <a:solidFill>
            <a:schemeClr val="bg1"/>
          </a:solidFill>
          <a:ln w="19050">
            <a:solidFill>
              <a:srgbClr val="24B07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203661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URPOSE 4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US PWI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N=250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9B2C2A-8006-4E9E-A330-8FC4D916D26A}"/>
              </a:ext>
            </a:extLst>
          </p:cNvPr>
          <p:cNvGrpSpPr/>
          <p:nvPr/>
        </p:nvGrpSpPr>
        <p:grpSpPr>
          <a:xfrm>
            <a:off x="0" y="5056887"/>
            <a:ext cx="12195136" cy="1177572"/>
            <a:chOff x="-735" y="4801389"/>
            <a:chExt cx="12195136" cy="1177572"/>
          </a:xfrm>
          <a:gradFill flip="none" rotWithShape="1">
            <a:gsLst>
              <a:gs pos="0">
                <a:schemeClr val="accent3">
                  <a:alpha val="0"/>
                </a:schemeClr>
              </a:gs>
              <a:gs pos="39000">
                <a:schemeClr val="accent3">
                  <a:alpha val="40000"/>
                </a:schemeClr>
              </a:gs>
              <a:gs pos="70000">
                <a:schemeClr val="accent3"/>
              </a:gs>
            </a:gsLst>
            <a:lin ang="16200000" scaled="1"/>
            <a:tileRect/>
          </a:gra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4C3F3F7-EE5E-47DD-A520-4F7166032B9B}"/>
                </a:ext>
              </a:extLst>
            </p:cNvPr>
            <p:cNvSpPr/>
            <p:nvPr/>
          </p:nvSpPr>
          <p:spPr>
            <a:xfrm rot="10800000">
              <a:off x="-735" y="5208224"/>
              <a:ext cx="12195136" cy="7707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29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75846B7-A316-4028-9514-8BC60159FB55}"/>
                </a:ext>
              </a:extLst>
            </p:cNvPr>
            <p:cNvGrpSpPr/>
            <p:nvPr/>
          </p:nvGrpSpPr>
          <p:grpSpPr>
            <a:xfrm>
              <a:off x="357518" y="4801389"/>
              <a:ext cx="11475494" cy="416594"/>
              <a:chOff x="357518" y="4801389"/>
              <a:chExt cx="11475494" cy="416594"/>
            </a:xfrm>
            <a:grpFill/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7F580B4-7657-445D-84DF-7B9923FFA846}"/>
                  </a:ext>
                </a:extLst>
              </p:cNvPr>
              <p:cNvSpPr/>
              <p:nvPr/>
            </p:nvSpPr>
            <p:spPr>
              <a:xfrm>
                <a:off x="357518" y="4801389"/>
                <a:ext cx="1190783" cy="406835"/>
              </a:xfrm>
              <a:custGeom>
                <a:avLst/>
                <a:gdLst>
                  <a:gd name="connsiteX0" fmla="*/ 853606 w 1190783"/>
                  <a:gd name="connsiteY0" fmla="*/ 91377 h 406835"/>
                  <a:gd name="connsiteX1" fmla="*/ 861375 w 1190783"/>
                  <a:gd name="connsiteY1" fmla="*/ 406835 h 406835"/>
                  <a:gd name="connsiteX2" fmla="*/ 787825 w 1190783"/>
                  <a:gd name="connsiteY2" fmla="*/ 406835 h 406835"/>
                  <a:gd name="connsiteX3" fmla="*/ 958546 w 1190783"/>
                  <a:gd name="connsiteY3" fmla="*/ 58611 h 406835"/>
                  <a:gd name="connsiteX4" fmla="*/ 1034973 w 1190783"/>
                  <a:gd name="connsiteY4" fmla="*/ 339706 h 406835"/>
                  <a:gd name="connsiteX5" fmla="*/ 1125071 w 1190783"/>
                  <a:gd name="connsiteY5" fmla="*/ 73336 h 406835"/>
                  <a:gd name="connsiteX6" fmla="*/ 1125987 w 1190783"/>
                  <a:gd name="connsiteY6" fmla="*/ 300904 h 406835"/>
                  <a:gd name="connsiteX7" fmla="*/ 1190783 w 1190783"/>
                  <a:gd name="connsiteY7" fmla="*/ 165027 h 406835"/>
                  <a:gd name="connsiteX8" fmla="*/ 1169423 w 1190783"/>
                  <a:gd name="connsiteY8" fmla="*/ 406835 h 406835"/>
                  <a:gd name="connsiteX9" fmla="*/ 863320 w 1190783"/>
                  <a:gd name="connsiteY9" fmla="*/ 406835 h 406835"/>
                  <a:gd name="connsiteX10" fmla="*/ 477014 w 1190783"/>
                  <a:gd name="connsiteY10" fmla="*/ 14477 h 406835"/>
                  <a:gd name="connsiteX11" fmla="*/ 529618 w 1190783"/>
                  <a:gd name="connsiteY11" fmla="*/ 383237 h 406835"/>
                  <a:gd name="connsiteX12" fmla="*/ 575245 w 1190783"/>
                  <a:gd name="connsiteY12" fmla="*/ 104692 h 406835"/>
                  <a:gd name="connsiteX13" fmla="*/ 594900 w 1190783"/>
                  <a:gd name="connsiteY13" fmla="*/ 225906 h 406835"/>
                  <a:gd name="connsiteX14" fmla="*/ 622164 w 1190783"/>
                  <a:gd name="connsiteY14" fmla="*/ 48463 h 406835"/>
                  <a:gd name="connsiteX15" fmla="*/ 672858 w 1190783"/>
                  <a:gd name="connsiteY15" fmla="*/ 381962 h 406835"/>
                  <a:gd name="connsiteX16" fmla="*/ 720450 w 1190783"/>
                  <a:gd name="connsiteY16" fmla="*/ 72580 h 406835"/>
                  <a:gd name="connsiteX17" fmla="*/ 771317 w 1190783"/>
                  <a:gd name="connsiteY17" fmla="*/ 406835 h 406835"/>
                  <a:gd name="connsiteX18" fmla="*/ 420393 w 1190783"/>
                  <a:gd name="connsiteY18" fmla="*/ 406835 h 406835"/>
                  <a:gd name="connsiteX19" fmla="*/ 238943 w 1190783"/>
                  <a:gd name="connsiteY19" fmla="*/ 0 h 406835"/>
                  <a:gd name="connsiteX20" fmla="*/ 334758 w 1190783"/>
                  <a:gd name="connsiteY20" fmla="*/ 375880 h 406835"/>
                  <a:gd name="connsiteX21" fmla="*/ 341311 w 1190783"/>
                  <a:gd name="connsiteY21" fmla="*/ 34759 h 406835"/>
                  <a:gd name="connsiteX22" fmla="*/ 415537 w 1190783"/>
                  <a:gd name="connsiteY22" fmla="*/ 406835 h 406835"/>
                  <a:gd name="connsiteX23" fmla="*/ 28600 w 1190783"/>
                  <a:gd name="connsiteY23" fmla="*/ 406835 h 406835"/>
                  <a:gd name="connsiteX24" fmla="*/ 0 w 1190783"/>
                  <a:gd name="connsiteY24" fmla="*/ 113897 h 406835"/>
                  <a:gd name="connsiteX25" fmla="*/ 69973 w 1190783"/>
                  <a:gd name="connsiteY25" fmla="*/ 265284 h 406835"/>
                  <a:gd name="connsiteX26" fmla="*/ 68881 w 1190783"/>
                  <a:gd name="connsiteY26" fmla="*/ 16001 h 406835"/>
                  <a:gd name="connsiteX27" fmla="*/ 161698 w 1190783"/>
                  <a:gd name="connsiteY27" fmla="*/ 301160 h 40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90783" h="406835">
                    <a:moveTo>
                      <a:pt x="853606" y="91377"/>
                    </a:moveTo>
                    <a:lnTo>
                      <a:pt x="861375" y="406835"/>
                    </a:lnTo>
                    <a:lnTo>
                      <a:pt x="787825" y="406835"/>
                    </a:lnTo>
                    <a:close/>
                    <a:moveTo>
                      <a:pt x="958546" y="58611"/>
                    </a:moveTo>
                    <a:lnTo>
                      <a:pt x="1034973" y="339706"/>
                    </a:lnTo>
                    <a:lnTo>
                      <a:pt x="1125071" y="73336"/>
                    </a:lnTo>
                    <a:lnTo>
                      <a:pt x="1125987" y="300904"/>
                    </a:lnTo>
                    <a:lnTo>
                      <a:pt x="1190783" y="165027"/>
                    </a:lnTo>
                    <a:lnTo>
                      <a:pt x="1169423" y="406835"/>
                    </a:lnTo>
                    <a:lnTo>
                      <a:pt x="863320" y="406835"/>
                    </a:lnTo>
                    <a:close/>
                    <a:moveTo>
                      <a:pt x="477014" y="14477"/>
                    </a:moveTo>
                    <a:lnTo>
                      <a:pt x="529618" y="383237"/>
                    </a:lnTo>
                    <a:lnTo>
                      <a:pt x="575245" y="104692"/>
                    </a:lnTo>
                    <a:lnTo>
                      <a:pt x="594900" y="225906"/>
                    </a:lnTo>
                    <a:lnTo>
                      <a:pt x="622164" y="48463"/>
                    </a:lnTo>
                    <a:lnTo>
                      <a:pt x="672858" y="381962"/>
                    </a:lnTo>
                    <a:lnTo>
                      <a:pt x="720450" y="72580"/>
                    </a:lnTo>
                    <a:lnTo>
                      <a:pt x="771317" y="406835"/>
                    </a:lnTo>
                    <a:lnTo>
                      <a:pt x="420393" y="406835"/>
                    </a:lnTo>
                    <a:close/>
                    <a:moveTo>
                      <a:pt x="238943" y="0"/>
                    </a:moveTo>
                    <a:lnTo>
                      <a:pt x="334758" y="375880"/>
                    </a:lnTo>
                    <a:lnTo>
                      <a:pt x="341311" y="34759"/>
                    </a:lnTo>
                    <a:lnTo>
                      <a:pt x="415537" y="406835"/>
                    </a:lnTo>
                    <a:lnTo>
                      <a:pt x="28600" y="406835"/>
                    </a:lnTo>
                    <a:lnTo>
                      <a:pt x="0" y="113897"/>
                    </a:lnTo>
                    <a:lnTo>
                      <a:pt x="69973" y="265284"/>
                    </a:lnTo>
                    <a:lnTo>
                      <a:pt x="68881" y="16001"/>
                    </a:lnTo>
                    <a:lnTo>
                      <a:pt x="161698" y="3011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2129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6824206C-93CF-4038-81D7-7BDC6CC87116}"/>
                  </a:ext>
                </a:extLst>
              </p:cNvPr>
              <p:cNvSpPr/>
              <p:nvPr/>
            </p:nvSpPr>
            <p:spPr>
              <a:xfrm flipH="1">
                <a:off x="10642229" y="4811148"/>
                <a:ext cx="1190783" cy="406835"/>
              </a:xfrm>
              <a:custGeom>
                <a:avLst/>
                <a:gdLst>
                  <a:gd name="connsiteX0" fmla="*/ 853606 w 1190783"/>
                  <a:gd name="connsiteY0" fmla="*/ 91377 h 406835"/>
                  <a:gd name="connsiteX1" fmla="*/ 861375 w 1190783"/>
                  <a:gd name="connsiteY1" fmla="*/ 406835 h 406835"/>
                  <a:gd name="connsiteX2" fmla="*/ 787825 w 1190783"/>
                  <a:gd name="connsiteY2" fmla="*/ 406835 h 406835"/>
                  <a:gd name="connsiteX3" fmla="*/ 958546 w 1190783"/>
                  <a:gd name="connsiteY3" fmla="*/ 58611 h 406835"/>
                  <a:gd name="connsiteX4" fmla="*/ 1034973 w 1190783"/>
                  <a:gd name="connsiteY4" fmla="*/ 339706 h 406835"/>
                  <a:gd name="connsiteX5" fmla="*/ 1125071 w 1190783"/>
                  <a:gd name="connsiteY5" fmla="*/ 73336 h 406835"/>
                  <a:gd name="connsiteX6" fmla="*/ 1125987 w 1190783"/>
                  <a:gd name="connsiteY6" fmla="*/ 300904 h 406835"/>
                  <a:gd name="connsiteX7" fmla="*/ 1190783 w 1190783"/>
                  <a:gd name="connsiteY7" fmla="*/ 165027 h 406835"/>
                  <a:gd name="connsiteX8" fmla="*/ 1169423 w 1190783"/>
                  <a:gd name="connsiteY8" fmla="*/ 406835 h 406835"/>
                  <a:gd name="connsiteX9" fmla="*/ 863320 w 1190783"/>
                  <a:gd name="connsiteY9" fmla="*/ 406835 h 406835"/>
                  <a:gd name="connsiteX10" fmla="*/ 477014 w 1190783"/>
                  <a:gd name="connsiteY10" fmla="*/ 14477 h 406835"/>
                  <a:gd name="connsiteX11" fmla="*/ 529618 w 1190783"/>
                  <a:gd name="connsiteY11" fmla="*/ 383237 h 406835"/>
                  <a:gd name="connsiteX12" fmla="*/ 575245 w 1190783"/>
                  <a:gd name="connsiteY12" fmla="*/ 104692 h 406835"/>
                  <a:gd name="connsiteX13" fmla="*/ 594900 w 1190783"/>
                  <a:gd name="connsiteY13" fmla="*/ 225906 h 406835"/>
                  <a:gd name="connsiteX14" fmla="*/ 622164 w 1190783"/>
                  <a:gd name="connsiteY14" fmla="*/ 48463 h 406835"/>
                  <a:gd name="connsiteX15" fmla="*/ 672858 w 1190783"/>
                  <a:gd name="connsiteY15" fmla="*/ 381962 h 406835"/>
                  <a:gd name="connsiteX16" fmla="*/ 720450 w 1190783"/>
                  <a:gd name="connsiteY16" fmla="*/ 72580 h 406835"/>
                  <a:gd name="connsiteX17" fmla="*/ 771317 w 1190783"/>
                  <a:gd name="connsiteY17" fmla="*/ 406835 h 406835"/>
                  <a:gd name="connsiteX18" fmla="*/ 420393 w 1190783"/>
                  <a:gd name="connsiteY18" fmla="*/ 406835 h 406835"/>
                  <a:gd name="connsiteX19" fmla="*/ 238943 w 1190783"/>
                  <a:gd name="connsiteY19" fmla="*/ 0 h 406835"/>
                  <a:gd name="connsiteX20" fmla="*/ 334758 w 1190783"/>
                  <a:gd name="connsiteY20" fmla="*/ 375880 h 406835"/>
                  <a:gd name="connsiteX21" fmla="*/ 341311 w 1190783"/>
                  <a:gd name="connsiteY21" fmla="*/ 34759 h 406835"/>
                  <a:gd name="connsiteX22" fmla="*/ 415537 w 1190783"/>
                  <a:gd name="connsiteY22" fmla="*/ 406835 h 406835"/>
                  <a:gd name="connsiteX23" fmla="*/ 28600 w 1190783"/>
                  <a:gd name="connsiteY23" fmla="*/ 406835 h 406835"/>
                  <a:gd name="connsiteX24" fmla="*/ 0 w 1190783"/>
                  <a:gd name="connsiteY24" fmla="*/ 113897 h 406835"/>
                  <a:gd name="connsiteX25" fmla="*/ 69973 w 1190783"/>
                  <a:gd name="connsiteY25" fmla="*/ 265284 h 406835"/>
                  <a:gd name="connsiteX26" fmla="*/ 68881 w 1190783"/>
                  <a:gd name="connsiteY26" fmla="*/ 16001 h 406835"/>
                  <a:gd name="connsiteX27" fmla="*/ 161698 w 1190783"/>
                  <a:gd name="connsiteY27" fmla="*/ 301160 h 40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90783" h="406835">
                    <a:moveTo>
                      <a:pt x="853606" y="91377"/>
                    </a:moveTo>
                    <a:lnTo>
                      <a:pt x="861375" y="406835"/>
                    </a:lnTo>
                    <a:lnTo>
                      <a:pt x="787825" y="406835"/>
                    </a:lnTo>
                    <a:close/>
                    <a:moveTo>
                      <a:pt x="958546" y="58611"/>
                    </a:moveTo>
                    <a:lnTo>
                      <a:pt x="1034973" y="339706"/>
                    </a:lnTo>
                    <a:lnTo>
                      <a:pt x="1125071" y="73336"/>
                    </a:lnTo>
                    <a:lnTo>
                      <a:pt x="1125987" y="300904"/>
                    </a:lnTo>
                    <a:lnTo>
                      <a:pt x="1190783" y="165027"/>
                    </a:lnTo>
                    <a:lnTo>
                      <a:pt x="1169423" y="406835"/>
                    </a:lnTo>
                    <a:lnTo>
                      <a:pt x="863320" y="406835"/>
                    </a:lnTo>
                    <a:close/>
                    <a:moveTo>
                      <a:pt x="477014" y="14477"/>
                    </a:moveTo>
                    <a:lnTo>
                      <a:pt x="529618" y="383237"/>
                    </a:lnTo>
                    <a:lnTo>
                      <a:pt x="575245" y="104692"/>
                    </a:lnTo>
                    <a:lnTo>
                      <a:pt x="594900" y="225906"/>
                    </a:lnTo>
                    <a:lnTo>
                      <a:pt x="622164" y="48463"/>
                    </a:lnTo>
                    <a:lnTo>
                      <a:pt x="672858" y="381962"/>
                    </a:lnTo>
                    <a:lnTo>
                      <a:pt x="720450" y="72580"/>
                    </a:lnTo>
                    <a:lnTo>
                      <a:pt x="771317" y="406835"/>
                    </a:lnTo>
                    <a:lnTo>
                      <a:pt x="420393" y="406835"/>
                    </a:lnTo>
                    <a:close/>
                    <a:moveTo>
                      <a:pt x="238943" y="0"/>
                    </a:moveTo>
                    <a:lnTo>
                      <a:pt x="334758" y="375880"/>
                    </a:lnTo>
                    <a:lnTo>
                      <a:pt x="341311" y="34759"/>
                    </a:lnTo>
                    <a:lnTo>
                      <a:pt x="415537" y="406835"/>
                    </a:lnTo>
                    <a:lnTo>
                      <a:pt x="28600" y="406835"/>
                    </a:lnTo>
                    <a:lnTo>
                      <a:pt x="0" y="113897"/>
                    </a:lnTo>
                    <a:lnTo>
                      <a:pt x="69973" y="265284"/>
                    </a:lnTo>
                    <a:lnTo>
                      <a:pt x="68881" y="16001"/>
                    </a:lnTo>
                    <a:lnTo>
                      <a:pt x="161698" y="3011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2129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AA67E7F-9C4F-4DCB-969D-58D3C52ADB59}"/>
              </a:ext>
            </a:extLst>
          </p:cNvPr>
          <p:cNvSpPr/>
          <p:nvPr/>
        </p:nvSpPr>
        <p:spPr>
          <a:xfrm flipH="1">
            <a:off x="1155588" y="5550148"/>
            <a:ext cx="9250905" cy="43088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>
            <a:spAutoFit/>
          </a:bodyPr>
          <a:lstStyle/>
          <a:p>
            <a:pPr marL="0" marR="0" lvl="0" indent="0" algn="ctr" defTabSz="121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oof of Concept that Capsid Inhibitors Prevent SHIV in Non-Human Primates</a:t>
            </a:r>
          </a:p>
          <a:p>
            <a:pPr marL="0" marR="0" lvl="0" indent="0" algn="ctr" defTabSz="121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obust Pharmacokinetic and Safety Database in persons with and without HIV</a:t>
            </a:r>
            <a:endParaRPr kumimoji="0" lang="en-IN" sz="1400" b="1" i="0" u="none" strike="noStrike" kern="0" cap="none" spc="-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58E9ABA-8A5E-48E1-8F38-C0BF0656124A}"/>
              </a:ext>
            </a:extLst>
          </p:cNvPr>
          <p:cNvSpPr txBox="1"/>
          <p:nvPr/>
        </p:nvSpPr>
        <p:spPr>
          <a:xfrm>
            <a:off x="8518557" y="5158717"/>
            <a:ext cx="209865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8DC1C5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Roboto" panose="02000000000000000000" pitchFamily="2" charset="0"/>
                <a:cs typeface="+mn-cs"/>
              </a:rPr>
              <a:t>Investigator engagemen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60DD0E-3D6C-42F1-8FE6-23485C751DCA}"/>
              </a:ext>
            </a:extLst>
          </p:cNvPr>
          <p:cNvSpPr txBox="1"/>
          <p:nvPr/>
        </p:nvSpPr>
        <p:spPr>
          <a:xfrm>
            <a:off x="1549036" y="5158717"/>
            <a:ext cx="3272819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8DC1C5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Roboto" panose="02000000000000000000" pitchFamily="2" charset="0"/>
                <a:cs typeface="+mn-cs"/>
              </a:rPr>
              <a:t>Community &amp; stakeholder collabor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903C2B-E985-4315-9267-5B340F7AC8C4}"/>
              </a:ext>
            </a:extLst>
          </p:cNvPr>
          <p:cNvSpPr txBox="1"/>
          <p:nvPr/>
        </p:nvSpPr>
        <p:spPr>
          <a:xfrm>
            <a:off x="3447339" y="2382196"/>
            <a:ext cx="1849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GYW, Uganda, South Africa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B813922-42E7-59FE-7039-AE34975217DF}"/>
              </a:ext>
            </a:extLst>
          </p:cNvPr>
          <p:cNvGrpSpPr/>
          <p:nvPr/>
        </p:nvGrpSpPr>
        <p:grpSpPr>
          <a:xfrm>
            <a:off x="3320051" y="1466562"/>
            <a:ext cx="2086842" cy="2092697"/>
            <a:chOff x="3320051" y="1466562"/>
            <a:chExt cx="2086842" cy="209269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BCE341D-7C6C-49B3-879A-4022AFFF33D2}"/>
                </a:ext>
              </a:extLst>
            </p:cNvPr>
            <p:cNvGrpSpPr/>
            <p:nvPr/>
          </p:nvGrpSpPr>
          <p:grpSpPr>
            <a:xfrm>
              <a:off x="3320051" y="1466562"/>
              <a:ext cx="2086842" cy="2092697"/>
              <a:chOff x="3534815" y="1583362"/>
              <a:chExt cx="2086842" cy="2092697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C75A645-AF9B-4D13-B07D-C648A603B302}"/>
                  </a:ext>
                </a:extLst>
              </p:cNvPr>
              <p:cNvSpPr/>
              <p:nvPr/>
            </p:nvSpPr>
            <p:spPr>
              <a:xfrm>
                <a:off x="3534815" y="1583362"/>
                <a:ext cx="2086842" cy="2092697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gradFill flip="none" rotWithShape="1">
                  <a:gsLst>
                    <a:gs pos="0">
                      <a:srgbClr val="A13A95"/>
                    </a:gs>
                    <a:gs pos="100000">
                      <a:srgbClr val="7D55C7"/>
                    </a:gs>
                  </a:gsLst>
                  <a:lin ang="0" scaled="1"/>
                  <a:tileRect/>
                </a:gradFill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611D9B4-397F-482E-B22D-A97F9A34D1EF}"/>
                  </a:ext>
                </a:extLst>
              </p:cNvPr>
              <p:cNvSpPr/>
              <p:nvPr/>
            </p:nvSpPr>
            <p:spPr>
              <a:xfrm>
                <a:off x="4125238" y="2883009"/>
                <a:ext cx="90281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50" normalizeH="0" baseline="0" noProof="0">
                    <a:ln>
                      <a:noFill/>
                    </a:ln>
                    <a:solidFill>
                      <a:srgbClr val="54565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N=5010</a:t>
                </a: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13324D39-EF4A-4DB6-9247-C911BC85A8E7}"/>
                  </a:ext>
                </a:extLst>
              </p:cNvPr>
              <p:cNvSpPr/>
              <p:nvPr/>
            </p:nvSpPr>
            <p:spPr>
              <a:xfrm>
                <a:off x="3712808" y="3214394"/>
                <a:ext cx="1730856" cy="461665"/>
              </a:xfrm>
              <a:custGeom>
                <a:avLst/>
                <a:gdLst>
                  <a:gd name="connsiteX0" fmla="*/ 0 w 1730856"/>
                  <a:gd name="connsiteY0" fmla="*/ 0 h 461665"/>
                  <a:gd name="connsiteX1" fmla="*/ 1730856 w 1730856"/>
                  <a:gd name="connsiteY1" fmla="*/ 0 h 461665"/>
                  <a:gd name="connsiteX2" fmla="*/ 1730649 w 1730856"/>
                  <a:gd name="connsiteY2" fmla="*/ 341 h 461665"/>
                  <a:gd name="connsiteX3" fmla="*/ 972112 w 1730856"/>
                  <a:gd name="connsiteY3" fmla="*/ 456264 h 461665"/>
                  <a:gd name="connsiteX4" fmla="*/ 865449 w 1730856"/>
                  <a:gd name="connsiteY4" fmla="*/ 461665 h 461665"/>
                  <a:gd name="connsiteX5" fmla="*/ 865408 w 1730856"/>
                  <a:gd name="connsiteY5" fmla="*/ 461665 h 461665"/>
                  <a:gd name="connsiteX6" fmla="*/ 758744 w 1730856"/>
                  <a:gd name="connsiteY6" fmla="*/ 456264 h 461665"/>
                  <a:gd name="connsiteX7" fmla="*/ 207 w 1730856"/>
                  <a:gd name="connsiteY7" fmla="*/ 341 h 461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0856" h="461665">
                    <a:moveTo>
                      <a:pt x="0" y="0"/>
                    </a:moveTo>
                    <a:lnTo>
                      <a:pt x="1730856" y="0"/>
                    </a:lnTo>
                    <a:lnTo>
                      <a:pt x="1730649" y="341"/>
                    </a:lnTo>
                    <a:cubicBezTo>
                      <a:pt x="1561890" y="250839"/>
                      <a:pt x="1287803" y="424114"/>
                      <a:pt x="972112" y="456264"/>
                    </a:cubicBezTo>
                    <a:lnTo>
                      <a:pt x="865449" y="461665"/>
                    </a:lnTo>
                    <a:lnTo>
                      <a:pt x="865408" y="461665"/>
                    </a:lnTo>
                    <a:lnTo>
                      <a:pt x="758744" y="456264"/>
                    </a:lnTo>
                    <a:cubicBezTo>
                      <a:pt x="443053" y="424114"/>
                      <a:pt x="168966" y="250839"/>
                      <a:pt x="207" y="341"/>
                    </a:cubicBezTo>
                    <a:close/>
                  </a:path>
                </a:pathLst>
              </a:custGeom>
              <a:gradFill>
                <a:gsLst>
                  <a:gs pos="0">
                    <a:srgbClr val="A13A95"/>
                  </a:gs>
                  <a:gs pos="100000">
                    <a:srgbClr val="7D55C7"/>
                  </a:gs>
                </a:gsLst>
                <a:lin ang="0" scaled="1"/>
              </a:gradFill>
              <a:ln w="19050">
                <a:noFill/>
                <a:miter lim="800000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QUALITATI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N=230</a:t>
                </a:r>
                <a:endParaRPr kumimoji="0" lang="en-IN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7BE81C0-B229-DE3E-61A5-00C88A263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93760" y="1903158"/>
              <a:ext cx="1664069" cy="328428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690545C-829B-0105-F29D-E5174196AB80}"/>
              </a:ext>
            </a:extLst>
          </p:cNvPr>
          <p:cNvGrpSpPr/>
          <p:nvPr/>
        </p:nvGrpSpPr>
        <p:grpSpPr>
          <a:xfrm>
            <a:off x="6688933" y="1406370"/>
            <a:ext cx="2205531" cy="2022062"/>
            <a:chOff x="6688935" y="1706476"/>
            <a:chExt cx="1751235" cy="172195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4119D63-0F42-46B5-84C1-4B8CDA1087F8}"/>
                </a:ext>
              </a:extLst>
            </p:cNvPr>
            <p:cNvGrpSpPr/>
            <p:nvPr/>
          </p:nvGrpSpPr>
          <p:grpSpPr>
            <a:xfrm>
              <a:off x="6703205" y="1706476"/>
              <a:ext cx="1736965" cy="1721956"/>
              <a:chOff x="6685958" y="1874656"/>
              <a:chExt cx="1736965" cy="1721956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997A069C-C807-461E-B973-AA84658D9D1B}"/>
                  </a:ext>
                </a:extLst>
              </p:cNvPr>
              <p:cNvSpPr/>
              <p:nvPr/>
            </p:nvSpPr>
            <p:spPr>
              <a:xfrm>
                <a:off x="6685958" y="1874656"/>
                <a:ext cx="1736965" cy="1721956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gradFill flip="none" rotWithShape="1">
                  <a:gsLst>
                    <a:gs pos="0">
                      <a:srgbClr val="CE0058"/>
                    </a:gs>
                    <a:gs pos="20000">
                      <a:srgbClr val="FF8F1C"/>
                    </a:gs>
                    <a:gs pos="80000">
                      <a:srgbClr val="0084CA"/>
                    </a:gs>
                    <a:gs pos="60000">
                      <a:srgbClr val="44D62C"/>
                    </a:gs>
                    <a:gs pos="40000">
                      <a:srgbClr val="FFE900"/>
                    </a:gs>
                    <a:gs pos="100000">
                      <a:srgbClr val="4E008E"/>
                    </a:gs>
                  </a:gsLst>
                  <a:lin ang="10800000" scaled="1"/>
                  <a:tileRect/>
                </a:gradFill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3DAB6E78-ECBF-495E-AC8A-9BC08B414349}"/>
                  </a:ext>
                </a:extLst>
              </p:cNvPr>
              <p:cNvSpPr/>
              <p:nvPr/>
            </p:nvSpPr>
            <p:spPr>
              <a:xfrm>
                <a:off x="7214246" y="2939519"/>
                <a:ext cx="716851" cy="31451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50" normalizeH="0" baseline="0" noProof="0">
                    <a:ln>
                      <a:noFill/>
                    </a:ln>
                    <a:solidFill>
                      <a:srgbClr val="54565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N=3000</a:t>
                </a: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A8575DF6-9982-49FB-AD2C-71E9FD1EB7F3}"/>
                  </a:ext>
                </a:extLst>
              </p:cNvPr>
              <p:cNvSpPr/>
              <p:nvPr/>
            </p:nvSpPr>
            <p:spPr>
              <a:xfrm>
                <a:off x="6786407" y="3199108"/>
                <a:ext cx="1530186" cy="397504"/>
              </a:xfrm>
              <a:custGeom>
                <a:avLst/>
                <a:gdLst>
                  <a:gd name="connsiteX0" fmla="*/ 0 w 1530186"/>
                  <a:gd name="connsiteY0" fmla="*/ 0 h 461665"/>
                  <a:gd name="connsiteX1" fmla="*/ 1530186 w 1530186"/>
                  <a:gd name="connsiteY1" fmla="*/ 0 h 461665"/>
                  <a:gd name="connsiteX2" fmla="*/ 1485253 w 1530186"/>
                  <a:gd name="connsiteY2" fmla="*/ 82068 h 461665"/>
                  <a:gd name="connsiteX3" fmla="*/ 765093 w 1530186"/>
                  <a:gd name="connsiteY3" fmla="*/ 461665 h 461665"/>
                  <a:gd name="connsiteX4" fmla="*/ 44934 w 1530186"/>
                  <a:gd name="connsiteY4" fmla="*/ 82068 h 461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0186" h="461665">
                    <a:moveTo>
                      <a:pt x="0" y="0"/>
                    </a:moveTo>
                    <a:lnTo>
                      <a:pt x="1530186" y="0"/>
                    </a:lnTo>
                    <a:lnTo>
                      <a:pt x="1485253" y="82068"/>
                    </a:lnTo>
                    <a:cubicBezTo>
                      <a:pt x="1329180" y="311090"/>
                      <a:pt x="1064875" y="461665"/>
                      <a:pt x="765093" y="461665"/>
                    </a:cubicBezTo>
                    <a:cubicBezTo>
                      <a:pt x="465312" y="461665"/>
                      <a:pt x="201006" y="311090"/>
                      <a:pt x="44934" y="82068"/>
                    </a:cubicBezTo>
                    <a:close/>
                  </a:path>
                </a:pathLst>
              </a:custGeom>
              <a:gradFill>
                <a:gsLst>
                  <a:gs pos="0">
                    <a:srgbClr val="E03442"/>
                  </a:gs>
                  <a:gs pos="15000">
                    <a:srgbClr val="FF8F1C"/>
                  </a:gs>
                  <a:gs pos="84000">
                    <a:srgbClr val="0084CA"/>
                  </a:gs>
                  <a:gs pos="60000">
                    <a:srgbClr val="44D62C"/>
                  </a:gs>
                  <a:gs pos="40000">
                    <a:srgbClr val="FFE900"/>
                  </a:gs>
                  <a:gs pos="100000">
                    <a:srgbClr val="3032A5"/>
                  </a:gs>
                </a:gsLst>
                <a:lin ang="10800000" scaled="1"/>
              </a:gradFill>
              <a:ln w="19050">
                <a:noFill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QUALITATI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N=220</a:t>
                </a:r>
                <a:endParaRPr kumimoji="0" lang="en-IN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CDC41C3-4990-4325-AD35-DB98D4F21E96}"/>
                </a:ext>
              </a:extLst>
            </p:cNvPr>
            <p:cNvSpPr txBox="1"/>
            <p:nvPr/>
          </p:nvSpPr>
          <p:spPr>
            <a:xfrm>
              <a:off x="6688935" y="2359220"/>
              <a:ext cx="1751235" cy="511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GMSM, TGW, TGM, GN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US, SA, Peru, Brazil, Thailand Mexico, Argentina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8898FA3-3F40-5ECB-6CD4-DA7AA3F46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32599" y="2078441"/>
              <a:ext cx="1490763" cy="287492"/>
            </a:xfrm>
            <a:prstGeom prst="rect">
              <a:avLst/>
            </a:prstGeom>
          </p:spPr>
        </p:pic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FA747FE7-D5F1-48FD-B174-1CCB2F1791D5}"/>
              </a:ext>
            </a:extLst>
          </p:cNvPr>
          <p:cNvSpPr txBox="1"/>
          <p:nvPr/>
        </p:nvSpPr>
        <p:spPr>
          <a:xfrm>
            <a:off x="3328559" y="2281016"/>
            <a:ext cx="203162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isgender Adolescent Girls and Young Wom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outh Africa, Ugand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9116D89-27CD-4E48-92BD-6FB8D9E8A73A}"/>
              </a:ext>
            </a:extLst>
          </p:cNvPr>
          <p:cNvSpPr txBox="1"/>
          <p:nvPr/>
        </p:nvSpPr>
        <p:spPr>
          <a:xfrm>
            <a:off x="6262636" y="5143853"/>
            <a:ext cx="204376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8DC1C5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Roboto" panose="02000000000000000000" pitchFamily="2" charset="0"/>
                <a:cs typeface="+mn-cs"/>
              </a:rPr>
              <a:t>Person-Centered Desig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518201-757B-4A82-8B24-0658348EAC64}"/>
              </a:ext>
            </a:extLst>
          </p:cNvPr>
          <p:cNvSpPr txBox="1"/>
          <p:nvPr/>
        </p:nvSpPr>
        <p:spPr>
          <a:xfrm>
            <a:off x="725860" y="6445822"/>
            <a:ext cx="3184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urposestudies.co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85595E-8CDC-7A17-297B-EBAAB262ADAF}"/>
              </a:ext>
            </a:extLst>
          </p:cNvPr>
          <p:cNvSpPr txBox="1">
            <a:spLocks/>
          </p:cNvSpPr>
          <p:nvPr/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BEAA09E-D67E-864E-8466-C38E88600C4F}" type="slidenum">
              <a:rPr lang="en-US" sz="1000" smtClean="0">
                <a:solidFill>
                  <a:schemeClr val="bg1"/>
                </a:solidFill>
              </a:rPr>
              <a:pPr>
                <a:defRPr/>
              </a:pPr>
              <a:t>3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37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3C5BB7E-4640-49A7-B970-D1924A0850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6000" y="420750"/>
            <a:ext cx="10972800" cy="98742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RPOSE  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en-US" dirty="0"/>
              <a:t>First to include pregnant and lactating people in Phase 3 HIV PrEP trials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A98BB5-971E-8841-D892-5DBF507D8F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87"/>
          <a:stretch/>
        </p:blipFill>
        <p:spPr>
          <a:xfrm>
            <a:off x="191965" y="149318"/>
            <a:ext cx="2892347" cy="6206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49F25E-1835-0CD1-FF5B-0C8A8A964EE7}"/>
              </a:ext>
            </a:extLst>
          </p:cNvPr>
          <p:cNvSpPr txBox="1"/>
          <p:nvPr/>
        </p:nvSpPr>
        <p:spPr>
          <a:xfrm>
            <a:off x="577516" y="6517522"/>
            <a:ext cx="6953128" cy="180425"/>
          </a:xfrm>
          <a:prstGeom prst="rect">
            <a:avLst/>
          </a:prstGeom>
          <a:noFill/>
        </p:spPr>
        <p:txBody>
          <a:bodyPr wrap="square" lIns="72000" tIns="72000" rIns="7200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V, human immunodeficiency virus; LEN,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nacapavir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; PLP, </a:t>
            </a:r>
            <a:r>
              <a:rPr lang="en-GB" sz="700" dirty="0">
                <a:solidFill>
                  <a:schemeClr val="accent1"/>
                </a:solidFill>
                <a:latin typeface="Trebuchet MS" panose="020B0603020202020204" pitchFamily="34" charset="0"/>
              </a:rPr>
              <a:t>pregnant and lactating people; PK, pharmacokinetic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20366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7B63160-4B2C-F1FD-D98D-97921ECC6A42}"/>
              </a:ext>
            </a:extLst>
          </p:cNvPr>
          <p:cNvSpPr txBox="1">
            <a:spLocks/>
          </p:cNvSpPr>
          <p:nvPr/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BEAA09E-D67E-864E-8466-C38E88600C4F}" type="slidenum">
              <a:rPr lang="en-US" sz="1000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4</a:t>
            </a:fld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6EEFA9-47B6-7AD5-B7BA-F4529B6B0B71}"/>
              </a:ext>
            </a:extLst>
          </p:cNvPr>
          <p:cNvSpPr txBox="1"/>
          <p:nvPr/>
        </p:nvSpPr>
        <p:spPr>
          <a:xfrm>
            <a:off x="6586555" y="1839708"/>
            <a:ext cx="496224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400"/>
              </a:spcBef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44175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The PURPOSE p</a:t>
            </a:r>
            <a:r>
              <a:rPr lang="en-US" dirty="0" err="1">
                <a:solidFill>
                  <a:srgbClr val="244175"/>
                </a:solidFill>
                <a:latin typeface="Trebuchet MS" panose="020B0603020202020204"/>
              </a:rPr>
              <a:t>rogram</a:t>
            </a:r>
            <a:r>
              <a:rPr lang="en-US" dirty="0">
                <a:solidFill>
                  <a:srgbClr val="244175"/>
                </a:solidFill>
                <a:latin typeface="Trebuchet MS" panose="020B0603020202020204"/>
              </a:rPr>
              <a:t> is evaluating LEN for HIV prevention in diverse global populations and intentionally includes PLP</a:t>
            </a:r>
            <a:endParaRPr lang="en-US" dirty="0">
              <a:solidFill>
                <a:srgbClr val="244175"/>
              </a:solidFill>
            </a:endParaRPr>
          </a:p>
          <a:p>
            <a:pPr>
              <a:spcBef>
                <a:spcPts val="2400"/>
              </a:spcBef>
              <a:defRPr/>
            </a:pPr>
            <a:r>
              <a:rPr lang="en-US" dirty="0">
                <a:solidFill>
                  <a:srgbClr val="244175"/>
                </a:solidFill>
              </a:rPr>
              <a:t>Pre-clinical studies do not indicate harmful effects of LEN on fertility, pregnancy, fetal development, or postnatal development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buClrTx/>
              <a:buSzTx/>
              <a:tabLst/>
              <a:defRPr/>
            </a:pPr>
            <a:r>
              <a:rPr lang="en-US" dirty="0">
                <a:solidFill>
                  <a:srgbClr val="244175"/>
                </a:solidFill>
                <a:latin typeface="Trebuchet MS" panose="020B0603020202020204"/>
              </a:rPr>
              <a:t>On track to provid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44175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EN PK data in pregnant people by 2026 per our Rome Action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44175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44175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lan commitments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buClrTx/>
              <a:buSzTx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44175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                               </a:t>
            </a:r>
            <a:endParaRPr lang="en-US" dirty="0">
              <a:solidFill>
                <a:srgbClr val="244175"/>
              </a:solidFill>
              <a:latin typeface="Trebuchet MS" panose="020B0603020202020204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3457072-1B12-581A-9630-F1C2E7CB95A2}"/>
              </a:ext>
            </a:extLst>
          </p:cNvPr>
          <p:cNvGrpSpPr>
            <a:grpSpLocks noChangeAspect="1"/>
          </p:cNvGrpSpPr>
          <p:nvPr/>
        </p:nvGrpSpPr>
        <p:grpSpPr>
          <a:xfrm>
            <a:off x="3271825" y="1887416"/>
            <a:ext cx="3018190" cy="3774254"/>
            <a:chOff x="680736" y="1939968"/>
            <a:chExt cx="3505712" cy="4383902"/>
          </a:xfr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9DB92D0-7258-49A8-7C48-5332ECC30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736" y="1939968"/>
              <a:ext cx="3505712" cy="4383902"/>
            </a:xfrm>
            <a:prstGeom prst="rect">
              <a:avLst/>
            </a:prstGeom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C056E9D-5C4A-36D8-3985-B35EC90D3AA6}"/>
                </a:ext>
              </a:extLst>
            </p:cNvPr>
            <p:cNvSpPr txBox="1"/>
            <p:nvPr/>
          </p:nvSpPr>
          <p:spPr>
            <a:xfrm>
              <a:off x="944584" y="4216810"/>
              <a:ext cx="3137224" cy="15171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“Rather than justifying inclusion of pregnant people, exclusion of pregnant persons from research should be justified”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“Protect pregnant people through research instead of from research”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9FDB57-CDD8-68B3-BCF4-34E973E0517C}"/>
              </a:ext>
            </a:extLst>
          </p:cNvPr>
          <p:cNvGrpSpPr>
            <a:grpSpLocks noChangeAspect="1"/>
          </p:cNvGrpSpPr>
          <p:nvPr/>
        </p:nvGrpSpPr>
        <p:grpSpPr>
          <a:xfrm>
            <a:off x="643204" y="1788041"/>
            <a:ext cx="1771751" cy="2168336"/>
            <a:chOff x="12104704" y="2333450"/>
            <a:chExt cx="1412492" cy="1728661"/>
          </a:xfr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5C9E1BEC-3366-3911-714C-7B2893F786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12104704" y="2333450"/>
              <a:ext cx="1412492" cy="1721067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 Placeholder 4">
              <a:extLst>
                <a:ext uri="{FF2B5EF4-FFF2-40B4-BE49-F238E27FC236}">
                  <a16:creationId xmlns:a16="http://schemas.microsoft.com/office/drawing/2014/main" id="{8DB04497-0185-0010-5ED1-390B27BE4B42}"/>
                </a:ext>
              </a:extLst>
            </p:cNvPr>
            <p:cNvSpPr txBox="1">
              <a:spLocks/>
            </p:cNvSpPr>
            <p:nvPr/>
          </p:nvSpPr>
          <p:spPr>
            <a:xfrm>
              <a:off x="12104704" y="3951828"/>
              <a:ext cx="601471" cy="110283"/>
            </a:xfrm>
            <a:prstGeom prst="rect">
              <a:avLst/>
            </a:prstGeom>
            <a:effectLst/>
          </p:spPr>
          <p:txBody>
            <a:bodyPr vert="horz" lIns="91440" tIns="0" rIns="91440" bIns="0" rtlCol="0"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115888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Aisha Fayyaz </a:t>
              </a:r>
            </a:p>
          </p:txBody>
        </p:sp>
      </p:grpSp>
      <p:pic>
        <p:nvPicPr>
          <p:cNvPr id="23" name="Picture 4" descr="Pregnancy Ethics (@pregnancyethics) / Twitter">
            <a:extLst>
              <a:ext uri="{FF2B5EF4-FFF2-40B4-BE49-F238E27FC236}">
                <a16:creationId xmlns:a16="http://schemas.microsoft.com/office/drawing/2014/main" id="{DBC05F8D-0E9E-46CB-9939-E3D0E1F32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122" y="4402005"/>
            <a:ext cx="2553163" cy="1485724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DF16DCD-85B1-BA9F-5DCF-5DFF0278812D}"/>
              </a:ext>
            </a:extLst>
          </p:cNvPr>
          <p:cNvCxnSpPr>
            <a:cxnSpLocks/>
          </p:cNvCxnSpPr>
          <p:nvPr/>
        </p:nvCxnSpPr>
        <p:spPr>
          <a:xfrm flipH="1">
            <a:off x="6475865" y="1688779"/>
            <a:ext cx="0" cy="396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8357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0DE89-AB66-4BA4-8008-E858BF372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9343" y="429836"/>
            <a:ext cx="10972800" cy="986400"/>
          </a:xfrm>
        </p:spPr>
        <p:txBody>
          <a:bodyPr anchor="ctr" anchorCtr="0"/>
          <a:lstStyle/>
          <a:p>
            <a:r>
              <a:rPr lang="en-US" dirty="0"/>
              <a:t>                pharmacokinetic </a:t>
            </a:r>
            <a:r>
              <a:rPr lang="en-US" dirty="0" err="1"/>
              <a:t>substudy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9FCB5B-C2FE-41DB-864A-857B33EAE49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1101" y="1165981"/>
            <a:ext cx="6404225" cy="59196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Pregnancy, breast milk, and infant PK substudies: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4E3250D-BAEC-4ED4-8078-AB1624290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705607"/>
              </p:ext>
            </p:extLst>
          </p:nvPr>
        </p:nvGraphicFramePr>
        <p:xfrm>
          <a:off x="671816" y="4279206"/>
          <a:ext cx="7620963" cy="19356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84953">
                  <a:extLst>
                    <a:ext uri="{9D8B030D-6E8A-4147-A177-3AD203B41FA5}">
                      <a16:colId xmlns:a16="http://schemas.microsoft.com/office/drawing/2014/main" val="1655037798"/>
                    </a:ext>
                  </a:extLst>
                </a:gridCol>
                <a:gridCol w="6436010">
                  <a:extLst>
                    <a:ext uri="{9D8B030D-6E8A-4147-A177-3AD203B41FA5}">
                      <a16:colId xmlns:a16="http://schemas.microsoft.com/office/drawing/2014/main" val="1497933229"/>
                    </a:ext>
                  </a:extLst>
                </a:gridCol>
              </a:tblGrid>
              <a:tr h="104273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Objectives</a:t>
                      </a:r>
                    </a:p>
                  </a:txBody>
                  <a:tcPr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3038" lvl="1" indent="-18288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Describe maternal systemic drug concentrations during pregnancy and postpartum period</a:t>
                      </a:r>
                    </a:p>
                    <a:p>
                      <a:pPr marL="173038" lvl="1" indent="-182880">
                        <a:buFont typeface="Arial" panose="020B0604020202020204" pitchFamily="34" charset="0"/>
                        <a:buChar char="•"/>
                      </a:pP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Qualitatively assess drug concentrations in maternal breast milk and </a:t>
                      </a:r>
                      <a:br>
                        <a:rPr lang="en-US" sz="1400" i="0" dirty="0">
                          <a:solidFill>
                            <a:srgbClr val="002060"/>
                          </a:solidFill>
                        </a:rPr>
                      </a:b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paired infants</a:t>
                      </a:r>
                    </a:p>
                  </a:txBody>
                  <a:tcPr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976635"/>
                  </a:ext>
                </a:extLst>
              </a:tr>
              <a:tr h="89292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imit burden</a:t>
                      </a:r>
                    </a:p>
                  </a:txBody>
                  <a:tcPr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3038" lvl="1" indent="-18288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No additional samples for maternal PK </a:t>
                      </a:r>
                    </a:p>
                    <a:p>
                      <a:pPr marL="173038" lvl="1" indent="-18288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Breast milk and infant samples collected at 2 scheduled visits post-delivery </a:t>
                      </a:r>
                    </a:p>
                    <a:p>
                      <a:pPr marL="173038" lvl="1" indent="-182880">
                        <a:buFont typeface="Arial" panose="020B0604020202020204" pitchFamily="34" charset="0"/>
                        <a:buChar char="•"/>
                      </a:pPr>
                      <a:r>
                        <a:rPr lang="en-US" sz="1400" i="0" dirty="0">
                          <a:solidFill>
                            <a:srgbClr val="002060"/>
                          </a:solidFill>
                        </a:rPr>
                        <a:t>Participants can opt out of breast milk and infant PK sampling</a:t>
                      </a:r>
                    </a:p>
                  </a:txBody>
                  <a:tcPr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769310"/>
                  </a:ext>
                </a:extLst>
              </a:tr>
            </a:tbl>
          </a:graphicData>
        </a:graphic>
      </p:graphicFrame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C672026-FB48-4C5A-9435-5F7A705ABD77}"/>
              </a:ext>
            </a:extLst>
          </p:cNvPr>
          <p:cNvSpPr txBox="1">
            <a:spLocks/>
          </p:cNvSpPr>
          <p:nvPr/>
        </p:nvSpPr>
        <p:spPr>
          <a:xfrm>
            <a:off x="8443608" y="4279206"/>
            <a:ext cx="3587430" cy="19368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15875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  <a:defRPr lang="en-US" sz="1800" b="0" i="1" kern="1600" spc="-50" baseline="0">
                <a:solidFill>
                  <a:schemeClr val="tx1"/>
                </a:solidFill>
                <a:latin typeface="Roboto" panose="02000000000000000000" pitchFamily="2" charset="0"/>
                <a:ea typeface="+mn-ea"/>
                <a:cs typeface="+mn-cs"/>
              </a:defRPr>
            </a:lvl2pPr>
            <a:lvl3pPr marL="287338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  <a:defRPr lang="en-US" sz="16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3pPr>
            <a:lvl4pPr marL="693738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  <a:defRPr lang="en-US" sz="14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4pPr>
            <a:lvl5pPr marL="1376363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  <a:defRPr sz="1200" b="0" i="0" kern="1600" spc="-50" baseline="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kumimoji="0" lang="en-US" sz="1800" b="0" i="0" u="none" strike="noStrike" kern="16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mpared with studies of prior HIV drugs, the pregnancy, lactation, and breast milk </a:t>
            </a:r>
            <a:r>
              <a:rPr kumimoji="0" lang="en-US" sz="1800" b="0" i="0" u="none" strike="noStrike" kern="1600" cap="none" spc="-5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substudy</a:t>
            </a:r>
            <a:r>
              <a:rPr kumimoji="0" lang="en-US" sz="1800" b="0" i="0" u="none" strike="noStrike" kern="16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in PURPOSE 1 will provide data on LEN in PLP and infants at the time of approval instead of years later</a:t>
            </a:r>
            <a:endParaRPr kumimoji="0" lang="en-US" b="0" i="0" u="none" strike="noStrike" kern="1600" cap="none" spc="-50" normalizeH="0" baseline="0" noProof="0" dirty="0">
              <a:ln>
                <a:noFill/>
              </a:ln>
              <a:solidFill>
                <a:srgbClr val="54565B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0D6DAE-99FE-9998-6773-35FF2F3C489E}"/>
              </a:ext>
            </a:extLst>
          </p:cNvPr>
          <p:cNvSpPr txBox="1"/>
          <p:nvPr/>
        </p:nvSpPr>
        <p:spPr>
          <a:xfrm>
            <a:off x="590672" y="6509528"/>
            <a:ext cx="11074514" cy="288147"/>
          </a:xfrm>
          <a:prstGeom prst="rect">
            <a:avLst/>
          </a:prstGeom>
          <a:noFill/>
        </p:spPr>
        <p:txBody>
          <a:bodyPr wrap="square" lIns="72000" tIns="72000" rIns="72000" bIns="0" rtlCol="0" anchor="b" anchorCtr="0">
            <a:spAutoFit/>
          </a:bodyPr>
          <a:lstStyle/>
          <a:p>
            <a:r>
              <a:rPr lang="en-GB" sz="700" dirty="0">
                <a:solidFill>
                  <a:schemeClr val="accent1"/>
                </a:solidFill>
                <a:latin typeface="Trebuchet MS" panose="020B0603020202020204" pitchFamily="34" charset="0"/>
              </a:rPr>
              <a:t>G-CAG, Global Community Advisory Groups;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V, human immunodeficiency virus; LEN,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nacapavir</a:t>
            </a:r>
            <a:r>
              <a:rPr lang="en-GB" sz="700" dirty="0">
                <a:solidFill>
                  <a:srgbClr val="203661"/>
                </a:solidFill>
                <a:latin typeface="Trebuchet MS"/>
              </a:rPr>
              <a:t>; </a:t>
            </a:r>
            <a:r>
              <a:rPr lang="en-GB" sz="700" dirty="0">
                <a:solidFill>
                  <a:schemeClr val="accent1"/>
                </a:solidFill>
                <a:latin typeface="Trebuchet MS" panose="020B0603020202020204" pitchFamily="34" charset="0"/>
              </a:rPr>
              <a:t>PLP, pregnant and lactating people; PK, pharmacokinetics.</a:t>
            </a:r>
          </a:p>
          <a:p>
            <a:pPr algn="l"/>
            <a:endParaRPr lang="en-GB" sz="700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D9EC6737-3EDB-A14D-D8ED-C6C5B30BCDCD}"/>
              </a:ext>
            </a:extLst>
          </p:cNvPr>
          <p:cNvGrpSpPr>
            <a:grpSpLocks noChangeAspect="1"/>
          </p:cNvGrpSpPr>
          <p:nvPr/>
        </p:nvGrpSpPr>
        <p:grpSpPr>
          <a:xfrm>
            <a:off x="647700" y="1533518"/>
            <a:ext cx="9911423" cy="2547880"/>
            <a:chOff x="700390" y="2279247"/>
            <a:chExt cx="7620963" cy="195908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A9590E3-D57C-DF83-2DC5-5897B2216F4C}"/>
                </a:ext>
              </a:extLst>
            </p:cNvPr>
            <p:cNvSpPr/>
            <p:nvPr/>
          </p:nvSpPr>
          <p:spPr>
            <a:xfrm>
              <a:off x="700390" y="2279247"/>
              <a:ext cx="7620963" cy="1935656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784BCFA-1452-EAFD-BCDC-019ABCAC1F8A}"/>
                </a:ext>
              </a:extLst>
            </p:cNvPr>
            <p:cNvSpPr/>
            <p:nvPr/>
          </p:nvSpPr>
          <p:spPr>
            <a:xfrm>
              <a:off x="2549352" y="3928477"/>
              <a:ext cx="4500000" cy="288000"/>
            </a:xfrm>
            <a:prstGeom prst="rect">
              <a:avLst/>
            </a:prstGeom>
            <a:solidFill>
              <a:schemeClr val="bg1">
                <a:alpha val="86000"/>
              </a:schemeClr>
            </a:solidFill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79CAB1E-40B6-F201-7603-D6F6BDA5CA90}"/>
                </a:ext>
              </a:extLst>
            </p:cNvPr>
            <p:cNvGrpSpPr/>
            <p:nvPr/>
          </p:nvGrpSpPr>
          <p:grpSpPr>
            <a:xfrm>
              <a:off x="1207900" y="2373807"/>
              <a:ext cx="6605226" cy="1864523"/>
              <a:chOff x="3197119" y="4600909"/>
              <a:chExt cx="6605226" cy="1864523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3BDCB9E-16BD-70C5-4AD6-AB1ECC699C83}"/>
                  </a:ext>
                </a:extLst>
              </p:cNvPr>
              <p:cNvSpPr/>
              <p:nvPr/>
            </p:nvSpPr>
            <p:spPr>
              <a:xfrm>
                <a:off x="3750446" y="4600909"/>
                <a:ext cx="1840706" cy="323850"/>
              </a:xfrm>
              <a:custGeom>
                <a:avLst/>
                <a:gdLst>
                  <a:gd name="connsiteX0" fmla="*/ 0 w 1840706"/>
                  <a:gd name="connsiteY0" fmla="*/ 321469 h 323850"/>
                  <a:gd name="connsiteX1" fmla="*/ 171450 w 1840706"/>
                  <a:gd name="connsiteY1" fmla="*/ 259556 h 323850"/>
                  <a:gd name="connsiteX2" fmla="*/ 302419 w 1840706"/>
                  <a:gd name="connsiteY2" fmla="*/ 195263 h 323850"/>
                  <a:gd name="connsiteX3" fmla="*/ 404813 w 1840706"/>
                  <a:gd name="connsiteY3" fmla="*/ 138113 h 323850"/>
                  <a:gd name="connsiteX4" fmla="*/ 497681 w 1840706"/>
                  <a:gd name="connsiteY4" fmla="*/ 95250 h 323850"/>
                  <a:gd name="connsiteX5" fmla="*/ 581025 w 1840706"/>
                  <a:gd name="connsiteY5" fmla="*/ 59531 h 323850"/>
                  <a:gd name="connsiteX6" fmla="*/ 709613 w 1840706"/>
                  <a:gd name="connsiteY6" fmla="*/ 19050 h 323850"/>
                  <a:gd name="connsiteX7" fmla="*/ 804863 w 1840706"/>
                  <a:gd name="connsiteY7" fmla="*/ 9525 h 323850"/>
                  <a:gd name="connsiteX8" fmla="*/ 883444 w 1840706"/>
                  <a:gd name="connsiteY8" fmla="*/ 0 h 323850"/>
                  <a:gd name="connsiteX9" fmla="*/ 983456 w 1840706"/>
                  <a:gd name="connsiteY9" fmla="*/ 4763 h 323850"/>
                  <a:gd name="connsiteX10" fmla="*/ 1085850 w 1840706"/>
                  <a:gd name="connsiteY10" fmla="*/ 19050 h 323850"/>
                  <a:gd name="connsiteX11" fmla="*/ 1247775 w 1840706"/>
                  <a:gd name="connsiteY11" fmla="*/ 61913 h 323850"/>
                  <a:gd name="connsiteX12" fmla="*/ 1354931 w 1840706"/>
                  <a:gd name="connsiteY12" fmla="*/ 102394 h 323850"/>
                  <a:gd name="connsiteX13" fmla="*/ 1507331 w 1840706"/>
                  <a:gd name="connsiteY13" fmla="*/ 180975 h 323850"/>
                  <a:gd name="connsiteX14" fmla="*/ 1607344 w 1840706"/>
                  <a:gd name="connsiteY14" fmla="*/ 233363 h 323850"/>
                  <a:gd name="connsiteX15" fmla="*/ 1697831 w 1840706"/>
                  <a:gd name="connsiteY15" fmla="*/ 276225 h 323850"/>
                  <a:gd name="connsiteX16" fmla="*/ 1840706 w 1840706"/>
                  <a:gd name="connsiteY16" fmla="*/ 323850 h 323850"/>
                  <a:gd name="connsiteX17" fmla="*/ 0 w 1840706"/>
                  <a:gd name="connsiteY17" fmla="*/ 321469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40706" h="323850">
                    <a:moveTo>
                      <a:pt x="0" y="321469"/>
                    </a:moveTo>
                    <a:lnTo>
                      <a:pt x="171450" y="259556"/>
                    </a:lnTo>
                    <a:lnTo>
                      <a:pt x="302419" y="195263"/>
                    </a:lnTo>
                    <a:lnTo>
                      <a:pt x="404813" y="138113"/>
                    </a:lnTo>
                    <a:lnTo>
                      <a:pt x="497681" y="95250"/>
                    </a:lnTo>
                    <a:lnTo>
                      <a:pt x="581025" y="59531"/>
                    </a:lnTo>
                    <a:lnTo>
                      <a:pt x="709613" y="19050"/>
                    </a:lnTo>
                    <a:lnTo>
                      <a:pt x="804863" y="9525"/>
                    </a:lnTo>
                    <a:lnTo>
                      <a:pt x="883444" y="0"/>
                    </a:lnTo>
                    <a:lnTo>
                      <a:pt x="983456" y="4763"/>
                    </a:lnTo>
                    <a:lnTo>
                      <a:pt x="1085850" y="19050"/>
                    </a:lnTo>
                    <a:lnTo>
                      <a:pt x="1247775" y="61913"/>
                    </a:lnTo>
                    <a:lnTo>
                      <a:pt x="1354931" y="102394"/>
                    </a:lnTo>
                    <a:lnTo>
                      <a:pt x="1507331" y="180975"/>
                    </a:lnTo>
                    <a:lnTo>
                      <a:pt x="1607344" y="233363"/>
                    </a:lnTo>
                    <a:lnTo>
                      <a:pt x="1697831" y="276225"/>
                    </a:lnTo>
                    <a:lnTo>
                      <a:pt x="1840706" y="323850"/>
                    </a:lnTo>
                    <a:lnTo>
                      <a:pt x="0" y="32146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18DEABB-A5FA-386A-E259-AD69B65CEEDF}"/>
                  </a:ext>
                </a:extLst>
              </p:cNvPr>
              <p:cNvSpPr/>
              <p:nvPr/>
            </p:nvSpPr>
            <p:spPr>
              <a:xfrm>
                <a:off x="7769450" y="4600909"/>
                <a:ext cx="1840706" cy="323850"/>
              </a:xfrm>
              <a:custGeom>
                <a:avLst/>
                <a:gdLst>
                  <a:gd name="connsiteX0" fmla="*/ 0 w 1840706"/>
                  <a:gd name="connsiteY0" fmla="*/ 321469 h 323850"/>
                  <a:gd name="connsiteX1" fmla="*/ 171450 w 1840706"/>
                  <a:gd name="connsiteY1" fmla="*/ 259556 h 323850"/>
                  <a:gd name="connsiteX2" fmla="*/ 302419 w 1840706"/>
                  <a:gd name="connsiteY2" fmla="*/ 195263 h 323850"/>
                  <a:gd name="connsiteX3" fmla="*/ 404813 w 1840706"/>
                  <a:gd name="connsiteY3" fmla="*/ 138113 h 323850"/>
                  <a:gd name="connsiteX4" fmla="*/ 497681 w 1840706"/>
                  <a:gd name="connsiteY4" fmla="*/ 95250 h 323850"/>
                  <a:gd name="connsiteX5" fmla="*/ 581025 w 1840706"/>
                  <a:gd name="connsiteY5" fmla="*/ 59531 h 323850"/>
                  <a:gd name="connsiteX6" fmla="*/ 709613 w 1840706"/>
                  <a:gd name="connsiteY6" fmla="*/ 19050 h 323850"/>
                  <a:gd name="connsiteX7" fmla="*/ 804863 w 1840706"/>
                  <a:gd name="connsiteY7" fmla="*/ 9525 h 323850"/>
                  <a:gd name="connsiteX8" fmla="*/ 883444 w 1840706"/>
                  <a:gd name="connsiteY8" fmla="*/ 0 h 323850"/>
                  <a:gd name="connsiteX9" fmla="*/ 983456 w 1840706"/>
                  <a:gd name="connsiteY9" fmla="*/ 4763 h 323850"/>
                  <a:gd name="connsiteX10" fmla="*/ 1085850 w 1840706"/>
                  <a:gd name="connsiteY10" fmla="*/ 19050 h 323850"/>
                  <a:gd name="connsiteX11" fmla="*/ 1247775 w 1840706"/>
                  <a:gd name="connsiteY11" fmla="*/ 61913 h 323850"/>
                  <a:gd name="connsiteX12" fmla="*/ 1354931 w 1840706"/>
                  <a:gd name="connsiteY12" fmla="*/ 102394 h 323850"/>
                  <a:gd name="connsiteX13" fmla="*/ 1507331 w 1840706"/>
                  <a:gd name="connsiteY13" fmla="*/ 180975 h 323850"/>
                  <a:gd name="connsiteX14" fmla="*/ 1607344 w 1840706"/>
                  <a:gd name="connsiteY14" fmla="*/ 233363 h 323850"/>
                  <a:gd name="connsiteX15" fmla="*/ 1697831 w 1840706"/>
                  <a:gd name="connsiteY15" fmla="*/ 276225 h 323850"/>
                  <a:gd name="connsiteX16" fmla="*/ 1840706 w 1840706"/>
                  <a:gd name="connsiteY16" fmla="*/ 323850 h 323850"/>
                  <a:gd name="connsiteX17" fmla="*/ 0 w 1840706"/>
                  <a:gd name="connsiteY17" fmla="*/ 321469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40706" h="323850">
                    <a:moveTo>
                      <a:pt x="0" y="321469"/>
                    </a:moveTo>
                    <a:lnTo>
                      <a:pt x="171450" y="259556"/>
                    </a:lnTo>
                    <a:lnTo>
                      <a:pt x="302419" y="195263"/>
                    </a:lnTo>
                    <a:lnTo>
                      <a:pt x="404813" y="138113"/>
                    </a:lnTo>
                    <a:lnTo>
                      <a:pt x="497681" y="95250"/>
                    </a:lnTo>
                    <a:lnTo>
                      <a:pt x="581025" y="59531"/>
                    </a:lnTo>
                    <a:lnTo>
                      <a:pt x="709613" y="19050"/>
                    </a:lnTo>
                    <a:lnTo>
                      <a:pt x="804863" y="9525"/>
                    </a:lnTo>
                    <a:lnTo>
                      <a:pt x="883444" y="0"/>
                    </a:lnTo>
                    <a:lnTo>
                      <a:pt x="983456" y="4763"/>
                    </a:lnTo>
                    <a:lnTo>
                      <a:pt x="1085850" y="19050"/>
                    </a:lnTo>
                    <a:lnTo>
                      <a:pt x="1247775" y="61913"/>
                    </a:lnTo>
                    <a:lnTo>
                      <a:pt x="1354931" y="102394"/>
                    </a:lnTo>
                    <a:lnTo>
                      <a:pt x="1507331" y="180975"/>
                    </a:lnTo>
                    <a:lnTo>
                      <a:pt x="1607344" y="233363"/>
                    </a:lnTo>
                    <a:lnTo>
                      <a:pt x="1697831" y="276225"/>
                    </a:lnTo>
                    <a:lnTo>
                      <a:pt x="1840706" y="323850"/>
                    </a:lnTo>
                    <a:lnTo>
                      <a:pt x="0" y="32146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E044ED7-38CF-8D2A-427E-E46DD4E6A26C}"/>
                  </a:ext>
                </a:extLst>
              </p:cNvPr>
              <p:cNvSpPr/>
              <p:nvPr/>
            </p:nvSpPr>
            <p:spPr>
              <a:xfrm>
                <a:off x="5759948" y="4600909"/>
                <a:ext cx="1840706" cy="323850"/>
              </a:xfrm>
              <a:custGeom>
                <a:avLst/>
                <a:gdLst>
                  <a:gd name="connsiteX0" fmla="*/ 0 w 1840706"/>
                  <a:gd name="connsiteY0" fmla="*/ 321469 h 323850"/>
                  <a:gd name="connsiteX1" fmla="*/ 171450 w 1840706"/>
                  <a:gd name="connsiteY1" fmla="*/ 259556 h 323850"/>
                  <a:gd name="connsiteX2" fmla="*/ 302419 w 1840706"/>
                  <a:gd name="connsiteY2" fmla="*/ 195263 h 323850"/>
                  <a:gd name="connsiteX3" fmla="*/ 404813 w 1840706"/>
                  <a:gd name="connsiteY3" fmla="*/ 138113 h 323850"/>
                  <a:gd name="connsiteX4" fmla="*/ 497681 w 1840706"/>
                  <a:gd name="connsiteY4" fmla="*/ 95250 h 323850"/>
                  <a:gd name="connsiteX5" fmla="*/ 581025 w 1840706"/>
                  <a:gd name="connsiteY5" fmla="*/ 59531 h 323850"/>
                  <a:gd name="connsiteX6" fmla="*/ 709613 w 1840706"/>
                  <a:gd name="connsiteY6" fmla="*/ 19050 h 323850"/>
                  <a:gd name="connsiteX7" fmla="*/ 804863 w 1840706"/>
                  <a:gd name="connsiteY7" fmla="*/ 9525 h 323850"/>
                  <a:gd name="connsiteX8" fmla="*/ 883444 w 1840706"/>
                  <a:gd name="connsiteY8" fmla="*/ 0 h 323850"/>
                  <a:gd name="connsiteX9" fmla="*/ 983456 w 1840706"/>
                  <a:gd name="connsiteY9" fmla="*/ 4763 h 323850"/>
                  <a:gd name="connsiteX10" fmla="*/ 1085850 w 1840706"/>
                  <a:gd name="connsiteY10" fmla="*/ 19050 h 323850"/>
                  <a:gd name="connsiteX11" fmla="*/ 1247775 w 1840706"/>
                  <a:gd name="connsiteY11" fmla="*/ 61913 h 323850"/>
                  <a:gd name="connsiteX12" fmla="*/ 1354931 w 1840706"/>
                  <a:gd name="connsiteY12" fmla="*/ 102394 h 323850"/>
                  <a:gd name="connsiteX13" fmla="*/ 1507331 w 1840706"/>
                  <a:gd name="connsiteY13" fmla="*/ 180975 h 323850"/>
                  <a:gd name="connsiteX14" fmla="*/ 1607344 w 1840706"/>
                  <a:gd name="connsiteY14" fmla="*/ 233363 h 323850"/>
                  <a:gd name="connsiteX15" fmla="*/ 1697831 w 1840706"/>
                  <a:gd name="connsiteY15" fmla="*/ 276225 h 323850"/>
                  <a:gd name="connsiteX16" fmla="*/ 1840706 w 1840706"/>
                  <a:gd name="connsiteY16" fmla="*/ 323850 h 323850"/>
                  <a:gd name="connsiteX17" fmla="*/ 0 w 1840706"/>
                  <a:gd name="connsiteY17" fmla="*/ 321469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40706" h="323850">
                    <a:moveTo>
                      <a:pt x="0" y="321469"/>
                    </a:moveTo>
                    <a:lnTo>
                      <a:pt x="171450" y="259556"/>
                    </a:lnTo>
                    <a:lnTo>
                      <a:pt x="302419" y="195263"/>
                    </a:lnTo>
                    <a:lnTo>
                      <a:pt x="404813" y="138113"/>
                    </a:lnTo>
                    <a:lnTo>
                      <a:pt x="497681" y="95250"/>
                    </a:lnTo>
                    <a:lnTo>
                      <a:pt x="581025" y="59531"/>
                    </a:lnTo>
                    <a:lnTo>
                      <a:pt x="709613" y="19050"/>
                    </a:lnTo>
                    <a:lnTo>
                      <a:pt x="804863" y="9525"/>
                    </a:lnTo>
                    <a:lnTo>
                      <a:pt x="883444" y="0"/>
                    </a:lnTo>
                    <a:lnTo>
                      <a:pt x="983456" y="4763"/>
                    </a:lnTo>
                    <a:lnTo>
                      <a:pt x="1085850" y="19050"/>
                    </a:lnTo>
                    <a:lnTo>
                      <a:pt x="1247775" y="61913"/>
                    </a:lnTo>
                    <a:lnTo>
                      <a:pt x="1354931" y="102394"/>
                    </a:lnTo>
                    <a:lnTo>
                      <a:pt x="1507331" y="180975"/>
                    </a:lnTo>
                    <a:lnTo>
                      <a:pt x="1607344" y="233363"/>
                    </a:lnTo>
                    <a:lnTo>
                      <a:pt x="1697831" y="276225"/>
                    </a:lnTo>
                    <a:lnTo>
                      <a:pt x="1840706" y="323850"/>
                    </a:lnTo>
                    <a:lnTo>
                      <a:pt x="0" y="32146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1B732F7E-83D3-2151-9A45-BCC66CCC15BD}"/>
                  </a:ext>
                </a:extLst>
              </p:cNvPr>
              <p:cNvGrpSpPr/>
              <p:nvPr/>
            </p:nvGrpSpPr>
            <p:grpSpPr>
              <a:xfrm rot="2706127">
                <a:off x="3533764" y="4629290"/>
                <a:ext cx="244475" cy="244475"/>
                <a:chOff x="-3846513" y="1474788"/>
                <a:chExt cx="244475" cy="244475"/>
              </a:xfrm>
              <a:solidFill>
                <a:schemeClr val="accent1"/>
              </a:solidFill>
            </p:grpSpPr>
            <p:sp>
              <p:nvSpPr>
                <p:cNvPr id="121" name="Freeform 33">
                  <a:extLst>
                    <a:ext uri="{FF2B5EF4-FFF2-40B4-BE49-F238E27FC236}">
                      <a16:creationId xmlns:a16="http://schemas.microsoft.com/office/drawing/2014/main" id="{EF039756-7105-33E6-E04E-7EA3BB8FE5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827463" y="1492250"/>
                  <a:ext cx="185738" cy="187325"/>
                </a:xfrm>
                <a:custGeom>
                  <a:avLst/>
                  <a:gdLst>
                    <a:gd name="T0" fmla="*/ 105 w 117"/>
                    <a:gd name="T1" fmla="*/ 70 h 118"/>
                    <a:gd name="T2" fmla="*/ 117 w 117"/>
                    <a:gd name="T3" fmla="*/ 118 h 118"/>
                    <a:gd name="T4" fmla="*/ 69 w 117"/>
                    <a:gd name="T5" fmla="*/ 106 h 118"/>
                    <a:gd name="T6" fmla="*/ 0 w 117"/>
                    <a:gd name="T7" fmla="*/ 37 h 118"/>
                    <a:gd name="T8" fmla="*/ 35 w 117"/>
                    <a:gd name="T9" fmla="*/ 0 h 118"/>
                    <a:gd name="T10" fmla="*/ 105 w 117"/>
                    <a:gd name="T11" fmla="*/ 7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7" h="118">
                      <a:moveTo>
                        <a:pt x="105" y="70"/>
                      </a:moveTo>
                      <a:lnTo>
                        <a:pt x="117" y="118"/>
                      </a:lnTo>
                      <a:lnTo>
                        <a:pt x="69" y="106"/>
                      </a:lnTo>
                      <a:lnTo>
                        <a:pt x="0" y="37"/>
                      </a:lnTo>
                      <a:lnTo>
                        <a:pt x="35" y="0"/>
                      </a:lnTo>
                      <a:lnTo>
                        <a:pt x="105" y="70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" name="Line 34">
                  <a:extLst>
                    <a:ext uri="{FF2B5EF4-FFF2-40B4-BE49-F238E27FC236}">
                      <a16:creationId xmlns:a16="http://schemas.microsoft.com/office/drawing/2014/main" id="{FB6002B7-4334-503F-1999-6DE46EDB9C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-3641726" y="1679575"/>
                  <a:ext cx="39688" cy="396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" name="Line 35">
                  <a:extLst>
                    <a:ext uri="{FF2B5EF4-FFF2-40B4-BE49-F238E27FC236}">
                      <a16:creationId xmlns:a16="http://schemas.microsoft.com/office/drawing/2014/main" id="{017ED466-D972-1650-EAA0-8C2A9E9EA7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71901" y="1479550"/>
                  <a:ext cx="14288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" name="Line 36">
                  <a:extLst>
                    <a:ext uri="{FF2B5EF4-FFF2-40B4-BE49-F238E27FC236}">
                      <a16:creationId xmlns:a16="http://schemas.microsoft.com/office/drawing/2014/main" id="{36EDE738-53D2-9210-33BE-079BE21B61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38576" y="1550988"/>
                  <a:ext cx="11113" cy="111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" name="Line 37">
                  <a:extLst>
                    <a:ext uri="{FF2B5EF4-FFF2-40B4-BE49-F238E27FC236}">
                      <a16:creationId xmlns:a16="http://schemas.microsoft.com/office/drawing/2014/main" id="{0BD9D7BC-E48E-2FE2-A757-311C6BF0BA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576388"/>
                  <a:ext cx="55563" cy="5715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" name="Line 38">
                  <a:extLst>
                    <a:ext uri="{FF2B5EF4-FFF2-40B4-BE49-F238E27FC236}">
                      <a16:creationId xmlns:a16="http://schemas.microsoft.com/office/drawing/2014/main" id="{ED044E4F-F515-3A3A-18FD-E00260F97B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-3827463" y="1493838"/>
                  <a:ext cx="112713" cy="1127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7" name="Line 39">
                  <a:extLst>
                    <a:ext uri="{FF2B5EF4-FFF2-40B4-BE49-F238E27FC236}">
                      <a16:creationId xmlns:a16="http://schemas.microsoft.com/office/drawing/2014/main" id="{2D6514D8-9565-2525-C39B-20F5FABF15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46513" y="1474788"/>
                  <a:ext cx="39688" cy="381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8" name="Line 40">
                  <a:extLst>
                    <a:ext uri="{FF2B5EF4-FFF2-40B4-BE49-F238E27FC236}">
                      <a16:creationId xmlns:a16="http://schemas.microsoft.com/office/drawing/2014/main" id="{7BDFA966-D119-5971-6F86-8D78DA8018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05238" y="1558925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9" name="Line 41">
                  <a:extLst>
                    <a:ext uri="{FF2B5EF4-FFF2-40B4-BE49-F238E27FC236}">
                      <a16:creationId xmlns:a16="http://schemas.microsoft.com/office/drawing/2014/main" id="{C434CB38-AB1D-B7DA-E21B-3AFE3E0D52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84601" y="1579563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30" name="Line 42">
                  <a:extLst>
                    <a:ext uri="{FF2B5EF4-FFF2-40B4-BE49-F238E27FC236}">
                      <a16:creationId xmlns:a16="http://schemas.microsoft.com/office/drawing/2014/main" id="{ADC062AA-CB26-394B-66A4-40731C3D9D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63963" y="1600200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31" name="Line 43">
                  <a:extLst>
                    <a:ext uri="{FF2B5EF4-FFF2-40B4-BE49-F238E27FC236}">
                      <a16:creationId xmlns:a16="http://schemas.microsoft.com/office/drawing/2014/main" id="{F31BE6B5-A0B4-9168-98C0-9AC91E3DA8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620838"/>
                  <a:ext cx="12700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32" name="Line 44">
                  <a:extLst>
                    <a:ext uri="{FF2B5EF4-FFF2-40B4-BE49-F238E27FC236}">
                      <a16:creationId xmlns:a16="http://schemas.microsoft.com/office/drawing/2014/main" id="{A5F84ABA-0721-0F0D-2C1E-6599C373CC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22688" y="1641475"/>
                  <a:ext cx="12700" cy="142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B0C88A7-F647-BE23-DE95-999781A21C10}"/>
                  </a:ext>
                </a:extLst>
              </p:cNvPr>
              <p:cNvGrpSpPr/>
              <p:nvPr/>
            </p:nvGrpSpPr>
            <p:grpSpPr>
              <a:xfrm rot="2706127">
                <a:off x="5537489" y="4629290"/>
                <a:ext cx="244475" cy="244475"/>
                <a:chOff x="-3846513" y="1474788"/>
                <a:chExt cx="244475" cy="244475"/>
              </a:xfrm>
              <a:solidFill>
                <a:schemeClr val="accent1"/>
              </a:solidFill>
            </p:grpSpPr>
            <p:sp>
              <p:nvSpPr>
                <p:cNvPr id="109" name="Freeform 33">
                  <a:extLst>
                    <a:ext uri="{FF2B5EF4-FFF2-40B4-BE49-F238E27FC236}">
                      <a16:creationId xmlns:a16="http://schemas.microsoft.com/office/drawing/2014/main" id="{BEDD884C-126E-4C34-668C-1A09FB3A4A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827463" y="1492250"/>
                  <a:ext cx="185738" cy="187325"/>
                </a:xfrm>
                <a:custGeom>
                  <a:avLst/>
                  <a:gdLst>
                    <a:gd name="T0" fmla="*/ 105 w 117"/>
                    <a:gd name="T1" fmla="*/ 70 h 118"/>
                    <a:gd name="T2" fmla="*/ 117 w 117"/>
                    <a:gd name="T3" fmla="*/ 118 h 118"/>
                    <a:gd name="T4" fmla="*/ 69 w 117"/>
                    <a:gd name="T5" fmla="*/ 106 h 118"/>
                    <a:gd name="T6" fmla="*/ 0 w 117"/>
                    <a:gd name="T7" fmla="*/ 37 h 118"/>
                    <a:gd name="T8" fmla="*/ 35 w 117"/>
                    <a:gd name="T9" fmla="*/ 0 h 118"/>
                    <a:gd name="T10" fmla="*/ 105 w 117"/>
                    <a:gd name="T11" fmla="*/ 7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7" h="118">
                      <a:moveTo>
                        <a:pt x="105" y="70"/>
                      </a:moveTo>
                      <a:lnTo>
                        <a:pt x="117" y="118"/>
                      </a:lnTo>
                      <a:lnTo>
                        <a:pt x="69" y="106"/>
                      </a:lnTo>
                      <a:lnTo>
                        <a:pt x="0" y="37"/>
                      </a:lnTo>
                      <a:lnTo>
                        <a:pt x="35" y="0"/>
                      </a:lnTo>
                      <a:lnTo>
                        <a:pt x="105" y="70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Line 34">
                  <a:extLst>
                    <a:ext uri="{FF2B5EF4-FFF2-40B4-BE49-F238E27FC236}">
                      <a16:creationId xmlns:a16="http://schemas.microsoft.com/office/drawing/2014/main" id="{FF6D00BA-9546-AFED-89E9-17E4EDDC82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-3641726" y="1679575"/>
                  <a:ext cx="39688" cy="396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Line 35">
                  <a:extLst>
                    <a:ext uri="{FF2B5EF4-FFF2-40B4-BE49-F238E27FC236}">
                      <a16:creationId xmlns:a16="http://schemas.microsoft.com/office/drawing/2014/main" id="{C048002D-8BE0-1DD5-7E3D-121789E50B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71901" y="1479550"/>
                  <a:ext cx="14288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Line 36">
                  <a:extLst>
                    <a:ext uri="{FF2B5EF4-FFF2-40B4-BE49-F238E27FC236}">
                      <a16:creationId xmlns:a16="http://schemas.microsoft.com/office/drawing/2014/main" id="{729630DB-8155-3528-144E-F20B8B35CC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38576" y="1550988"/>
                  <a:ext cx="11113" cy="111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Line 37">
                  <a:extLst>
                    <a:ext uri="{FF2B5EF4-FFF2-40B4-BE49-F238E27FC236}">
                      <a16:creationId xmlns:a16="http://schemas.microsoft.com/office/drawing/2014/main" id="{E9011B12-6BFB-7E93-6694-423AB976D7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576388"/>
                  <a:ext cx="55563" cy="5715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Line 38">
                  <a:extLst>
                    <a:ext uri="{FF2B5EF4-FFF2-40B4-BE49-F238E27FC236}">
                      <a16:creationId xmlns:a16="http://schemas.microsoft.com/office/drawing/2014/main" id="{7A29AAD6-47EC-2BF8-7872-22BBF62604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-3827463" y="1493838"/>
                  <a:ext cx="112713" cy="1127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Line 39">
                  <a:extLst>
                    <a:ext uri="{FF2B5EF4-FFF2-40B4-BE49-F238E27FC236}">
                      <a16:creationId xmlns:a16="http://schemas.microsoft.com/office/drawing/2014/main" id="{013FDE5C-199D-65E4-840B-E69426FD42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46513" y="1474788"/>
                  <a:ext cx="39688" cy="381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Line 40">
                  <a:extLst>
                    <a:ext uri="{FF2B5EF4-FFF2-40B4-BE49-F238E27FC236}">
                      <a16:creationId xmlns:a16="http://schemas.microsoft.com/office/drawing/2014/main" id="{1A2266D0-1D71-04E9-AA82-8B4506FFF8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05238" y="1558925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Line 41">
                  <a:extLst>
                    <a:ext uri="{FF2B5EF4-FFF2-40B4-BE49-F238E27FC236}">
                      <a16:creationId xmlns:a16="http://schemas.microsoft.com/office/drawing/2014/main" id="{E44637FC-2B10-1269-4950-3C4865166BA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84601" y="1579563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Line 42">
                  <a:extLst>
                    <a:ext uri="{FF2B5EF4-FFF2-40B4-BE49-F238E27FC236}">
                      <a16:creationId xmlns:a16="http://schemas.microsoft.com/office/drawing/2014/main" id="{B280FC86-4E99-9E9C-1605-3F66D926AD5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63963" y="1600200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" name="Line 43">
                  <a:extLst>
                    <a:ext uri="{FF2B5EF4-FFF2-40B4-BE49-F238E27FC236}">
                      <a16:creationId xmlns:a16="http://schemas.microsoft.com/office/drawing/2014/main" id="{ED64785B-441F-933A-8CA7-7752EF090B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620838"/>
                  <a:ext cx="12700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Line 44">
                  <a:extLst>
                    <a:ext uri="{FF2B5EF4-FFF2-40B4-BE49-F238E27FC236}">
                      <a16:creationId xmlns:a16="http://schemas.microsoft.com/office/drawing/2014/main" id="{2869F1C2-6507-3395-13A0-1E102C8029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22688" y="1641475"/>
                  <a:ext cx="12700" cy="142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FA4D0F10-4D08-1811-7954-9BDF922B5ADF}"/>
                  </a:ext>
                </a:extLst>
              </p:cNvPr>
              <p:cNvGrpSpPr/>
              <p:nvPr/>
            </p:nvGrpSpPr>
            <p:grpSpPr>
              <a:xfrm rot="2706127">
                <a:off x="7544483" y="4629290"/>
                <a:ext cx="244475" cy="244475"/>
                <a:chOff x="-3846513" y="1474788"/>
                <a:chExt cx="244475" cy="244475"/>
              </a:xfrm>
              <a:solidFill>
                <a:schemeClr val="accent1"/>
              </a:solidFill>
            </p:grpSpPr>
            <p:sp>
              <p:nvSpPr>
                <p:cNvPr id="97" name="Freeform 33">
                  <a:extLst>
                    <a:ext uri="{FF2B5EF4-FFF2-40B4-BE49-F238E27FC236}">
                      <a16:creationId xmlns:a16="http://schemas.microsoft.com/office/drawing/2014/main" id="{E385A75C-68BB-171F-6C85-226D04F09F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827463" y="1492250"/>
                  <a:ext cx="185738" cy="187325"/>
                </a:xfrm>
                <a:custGeom>
                  <a:avLst/>
                  <a:gdLst>
                    <a:gd name="T0" fmla="*/ 105 w 117"/>
                    <a:gd name="T1" fmla="*/ 70 h 118"/>
                    <a:gd name="T2" fmla="*/ 117 w 117"/>
                    <a:gd name="T3" fmla="*/ 118 h 118"/>
                    <a:gd name="T4" fmla="*/ 69 w 117"/>
                    <a:gd name="T5" fmla="*/ 106 h 118"/>
                    <a:gd name="T6" fmla="*/ 0 w 117"/>
                    <a:gd name="T7" fmla="*/ 37 h 118"/>
                    <a:gd name="T8" fmla="*/ 35 w 117"/>
                    <a:gd name="T9" fmla="*/ 0 h 118"/>
                    <a:gd name="T10" fmla="*/ 105 w 117"/>
                    <a:gd name="T11" fmla="*/ 7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7" h="118">
                      <a:moveTo>
                        <a:pt x="105" y="70"/>
                      </a:moveTo>
                      <a:lnTo>
                        <a:pt x="117" y="118"/>
                      </a:lnTo>
                      <a:lnTo>
                        <a:pt x="69" y="106"/>
                      </a:lnTo>
                      <a:lnTo>
                        <a:pt x="0" y="37"/>
                      </a:lnTo>
                      <a:lnTo>
                        <a:pt x="35" y="0"/>
                      </a:lnTo>
                      <a:lnTo>
                        <a:pt x="105" y="70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Line 34">
                  <a:extLst>
                    <a:ext uri="{FF2B5EF4-FFF2-40B4-BE49-F238E27FC236}">
                      <a16:creationId xmlns:a16="http://schemas.microsoft.com/office/drawing/2014/main" id="{DCA10FF7-10E7-9F74-D42D-D652DC09CE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-3641726" y="1679575"/>
                  <a:ext cx="39688" cy="396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Line 35">
                  <a:extLst>
                    <a:ext uri="{FF2B5EF4-FFF2-40B4-BE49-F238E27FC236}">
                      <a16:creationId xmlns:a16="http://schemas.microsoft.com/office/drawing/2014/main" id="{808E159E-F25A-A5CA-41F2-73AC2E7C54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71901" y="1479550"/>
                  <a:ext cx="14288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Line 36">
                  <a:extLst>
                    <a:ext uri="{FF2B5EF4-FFF2-40B4-BE49-F238E27FC236}">
                      <a16:creationId xmlns:a16="http://schemas.microsoft.com/office/drawing/2014/main" id="{5E0D4715-FE47-44F7-4FC0-DCBCAFAE83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38576" y="1550988"/>
                  <a:ext cx="11113" cy="111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Line 37">
                  <a:extLst>
                    <a:ext uri="{FF2B5EF4-FFF2-40B4-BE49-F238E27FC236}">
                      <a16:creationId xmlns:a16="http://schemas.microsoft.com/office/drawing/2014/main" id="{A716B929-02BE-7721-C0F0-2FBA346E0A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576388"/>
                  <a:ext cx="55563" cy="5715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Line 38">
                  <a:extLst>
                    <a:ext uri="{FF2B5EF4-FFF2-40B4-BE49-F238E27FC236}">
                      <a16:creationId xmlns:a16="http://schemas.microsoft.com/office/drawing/2014/main" id="{C822E8C3-265E-E215-7E6C-A6F77714DC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-3827463" y="1493838"/>
                  <a:ext cx="112713" cy="1127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Line 39">
                  <a:extLst>
                    <a:ext uri="{FF2B5EF4-FFF2-40B4-BE49-F238E27FC236}">
                      <a16:creationId xmlns:a16="http://schemas.microsoft.com/office/drawing/2014/main" id="{56806274-52CE-B13D-9E79-3C3A5FE459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46513" y="1474788"/>
                  <a:ext cx="39688" cy="381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Line 40">
                  <a:extLst>
                    <a:ext uri="{FF2B5EF4-FFF2-40B4-BE49-F238E27FC236}">
                      <a16:creationId xmlns:a16="http://schemas.microsoft.com/office/drawing/2014/main" id="{D7D1FC66-F43F-9144-CA52-5E7345FF82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05238" y="1558925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Line 41">
                  <a:extLst>
                    <a:ext uri="{FF2B5EF4-FFF2-40B4-BE49-F238E27FC236}">
                      <a16:creationId xmlns:a16="http://schemas.microsoft.com/office/drawing/2014/main" id="{E72FEBE7-2793-D1FE-A59E-778AFC44BD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84601" y="1579563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Line 42">
                  <a:extLst>
                    <a:ext uri="{FF2B5EF4-FFF2-40B4-BE49-F238E27FC236}">
                      <a16:creationId xmlns:a16="http://schemas.microsoft.com/office/drawing/2014/main" id="{2490DB25-933C-727B-0573-24F4161C87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63963" y="1600200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Line 43">
                  <a:extLst>
                    <a:ext uri="{FF2B5EF4-FFF2-40B4-BE49-F238E27FC236}">
                      <a16:creationId xmlns:a16="http://schemas.microsoft.com/office/drawing/2014/main" id="{F4432B60-F6EB-DE42-8B49-31814B11AA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620838"/>
                  <a:ext cx="12700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Line 44">
                  <a:extLst>
                    <a:ext uri="{FF2B5EF4-FFF2-40B4-BE49-F238E27FC236}">
                      <a16:creationId xmlns:a16="http://schemas.microsoft.com/office/drawing/2014/main" id="{AC411064-A74A-DF2D-3059-21C2D99DAC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22688" y="1641475"/>
                  <a:ext cx="12700" cy="142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21BC2B33-B4E3-7ACC-596B-8D3E0086BED8}"/>
                  </a:ext>
                </a:extLst>
              </p:cNvPr>
              <p:cNvGrpSpPr/>
              <p:nvPr/>
            </p:nvGrpSpPr>
            <p:grpSpPr>
              <a:xfrm rot="2706127">
                <a:off x="9557870" y="4629290"/>
                <a:ext cx="244475" cy="244475"/>
                <a:chOff x="-3846513" y="1474788"/>
                <a:chExt cx="244475" cy="244475"/>
              </a:xfrm>
              <a:solidFill>
                <a:schemeClr val="accent1"/>
              </a:solidFill>
            </p:grpSpPr>
            <p:sp>
              <p:nvSpPr>
                <p:cNvPr id="85" name="Freeform 33">
                  <a:extLst>
                    <a:ext uri="{FF2B5EF4-FFF2-40B4-BE49-F238E27FC236}">
                      <a16:creationId xmlns:a16="http://schemas.microsoft.com/office/drawing/2014/main" id="{7988ECCC-B78E-2C25-37FD-B8FE5D8C8B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827463" y="1492250"/>
                  <a:ext cx="185738" cy="187325"/>
                </a:xfrm>
                <a:custGeom>
                  <a:avLst/>
                  <a:gdLst>
                    <a:gd name="T0" fmla="*/ 105 w 117"/>
                    <a:gd name="T1" fmla="*/ 70 h 118"/>
                    <a:gd name="T2" fmla="*/ 117 w 117"/>
                    <a:gd name="T3" fmla="*/ 118 h 118"/>
                    <a:gd name="T4" fmla="*/ 69 w 117"/>
                    <a:gd name="T5" fmla="*/ 106 h 118"/>
                    <a:gd name="T6" fmla="*/ 0 w 117"/>
                    <a:gd name="T7" fmla="*/ 37 h 118"/>
                    <a:gd name="T8" fmla="*/ 35 w 117"/>
                    <a:gd name="T9" fmla="*/ 0 h 118"/>
                    <a:gd name="T10" fmla="*/ 105 w 117"/>
                    <a:gd name="T11" fmla="*/ 7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7" h="118">
                      <a:moveTo>
                        <a:pt x="105" y="70"/>
                      </a:moveTo>
                      <a:lnTo>
                        <a:pt x="117" y="118"/>
                      </a:lnTo>
                      <a:lnTo>
                        <a:pt x="69" y="106"/>
                      </a:lnTo>
                      <a:lnTo>
                        <a:pt x="0" y="37"/>
                      </a:lnTo>
                      <a:lnTo>
                        <a:pt x="35" y="0"/>
                      </a:lnTo>
                      <a:lnTo>
                        <a:pt x="105" y="70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Line 34">
                  <a:extLst>
                    <a:ext uri="{FF2B5EF4-FFF2-40B4-BE49-F238E27FC236}">
                      <a16:creationId xmlns:a16="http://schemas.microsoft.com/office/drawing/2014/main" id="{85134379-8E76-313F-5041-31799AA0BF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-3641726" y="1679575"/>
                  <a:ext cx="39688" cy="396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Line 35">
                  <a:extLst>
                    <a:ext uri="{FF2B5EF4-FFF2-40B4-BE49-F238E27FC236}">
                      <a16:creationId xmlns:a16="http://schemas.microsoft.com/office/drawing/2014/main" id="{6DF3D5B1-1D29-5C4A-3F21-8D47109F4C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71901" y="1479550"/>
                  <a:ext cx="14288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Line 36">
                  <a:extLst>
                    <a:ext uri="{FF2B5EF4-FFF2-40B4-BE49-F238E27FC236}">
                      <a16:creationId xmlns:a16="http://schemas.microsoft.com/office/drawing/2014/main" id="{4831E482-D91A-2CC9-5FA7-CF9DB51DC9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38576" y="1550988"/>
                  <a:ext cx="11113" cy="111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Line 37">
                  <a:extLst>
                    <a:ext uri="{FF2B5EF4-FFF2-40B4-BE49-F238E27FC236}">
                      <a16:creationId xmlns:a16="http://schemas.microsoft.com/office/drawing/2014/main" id="{3F762C3E-9007-D78A-AAB8-9E04AB3D56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576388"/>
                  <a:ext cx="55563" cy="5715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Line 38">
                  <a:extLst>
                    <a:ext uri="{FF2B5EF4-FFF2-40B4-BE49-F238E27FC236}">
                      <a16:creationId xmlns:a16="http://schemas.microsoft.com/office/drawing/2014/main" id="{CED58314-1B4F-6117-8C75-A481B45F40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-3827463" y="1493838"/>
                  <a:ext cx="112713" cy="112713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Line 39">
                  <a:extLst>
                    <a:ext uri="{FF2B5EF4-FFF2-40B4-BE49-F238E27FC236}">
                      <a16:creationId xmlns:a16="http://schemas.microsoft.com/office/drawing/2014/main" id="{6651BE2C-A8EC-5CBD-DB92-5157E40822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46513" y="1474788"/>
                  <a:ext cx="39688" cy="381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Line 40">
                  <a:extLst>
                    <a:ext uri="{FF2B5EF4-FFF2-40B4-BE49-F238E27FC236}">
                      <a16:creationId xmlns:a16="http://schemas.microsoft.com/office/drawing/2014/main" id="{DAE3E5E2-EEC4-8C66-3009-E78D620F78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805238" y="1558925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Line 41">
                  <a:extLst>
                    <a:ext uri="{FF2B5EF4-FFF2-40B4-BE49-F238E27FC236}">
                      <a16:creationId xmlns:a16="http://schemas.microsoft.com/office/drawing/2014/main" id="{1C3D7A54-9C07-1A0C-31F2-583C0F373A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84601" y="1579563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Line 42">
                  <a:extLst>
                    <a:ext uri="{FF2B5EF4-FFF2-40B4-BE49-F238E27FC236}">
                      <a16:creationId xmlns:a16="http://schemas.microsoft.com/office/drawing/2014/main" id="{9E1D9BB6-1CED-29D9-1ECE-1F940FCD06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63963" y="1600200"/>
                  <a:ext cx="11113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Line 43">
                  <a:extLst>
                    <a:ext uri="{FF2B5EF4-FFF2-40B4-BE49-F238E27FC236}">
                      <a16:creationId xmlns:a16="http://schemas.microsoft.com/office/drawing/2014/main" id="{23656B6F-B372-711E-E7C5-DFDD401EA3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43326" y="1620838"/>
                  <a:ext cx="12700" cy="12700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Line 44">
                  <a:extLst>
                    <a:ext uri="{FF2B5EF4-FFF2-40B4-BE49-F238E27FC236}">
                      <a16:creationId xmlns:a16="http://schemas.microsoft.com/office/drawing/2014/main" id="{4DC8AB3A-3656-8F6F-2246-8AE17B5AC8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-3722688" y="1641475"/>
                  <a:ext cx="12700" cy="14288"/>
                </a:xfrm>
                <a:prstGeom prst="lin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5E1E9A8-7886-152A-C624-5C89806DE04F}"/>
                  </a:ext>
                </a:extLst>
              </p:cNvPr>
              <p:cNvGrpSpPr/>
              <p:nvPr/>
            </p:nvGrpSpPr>
            <p:grpSpPr>
              <a:xfrm>
                <a:off x="8669844" y="5179990"/>
                <a:ext cx="38665" cy="868420"/>
                <a:chOff x="5222317" y="2989754"/>
                <a:chExt cx="38665" cy="868420"/>
              </a:xfrm>
            </p:grpSpPr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17A82185-4BA5-56A0-E8C0-EC6538E0C0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60982" y="2989754"/>
                  <a:ext cx="0" cy="867600"/>
                </a:xfrm>
                <a:prstGeom prst="line">
                  <a:avLst/>
                </a:prstGeom>
                <a:ln w="19050">
                  <a:solidFill>
                    <a:srgbClr val="E48D1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DDA48755-3304-3D8C-2D51-36D37D42B4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22317" y="2989754"/>
                  <a:ext cx="0" cy="868420"/>
                </a:xfrm>
                <a:prstGeom prst="line">
                  <a:avLst/>
                </a:prstGeom>
                <a:ln w="19050">
                  <a:solidFill>
                    <a:schemeClr val="tx2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8C916BE3-6141-90C2-C73C-EA6E07931F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41570" y="2989754"/>
                  <a:ext cx="0" cy="867600"/>
                </a:xfrm>
                <a:prstGeom prst="line">
                  <a:avLst/>
                </a:prstGeom>
                <a:ln w="19050">
                  <a:solidFill>
                    <a:srgbClr val="00CC9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5896028-1920-8B33-CDC0-EF1D0819469B}"/>
                  </a:ext>
                </a:extLst>
              </p:cNvPr>
              <p:cNvGrpSpPr/>
              <p:nvPr/>
            </p:nvGrpSpPr>
            <p:grpSpPr>
              <a:xfrm>
                <a:off x="9672620" y="5182610"/>
                <a:ext cx="38665" cy="868420"/>
                <a:chOff x="5222317" y="2989754"/>
                <a:chExt cx="38665" cy="868420"/>
              </a:xfrm>
            </p:grpSpPr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CCA79BB8-3F4D-0F74-2DAD-6E1D6FF0F03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60982" y="3674593"/>
                  <a:ext cx="0" cy="182761"/>
                </a:xfrm>
                <a:prstGeom prst="line">
                  <a:avLst/>
                </a:prstGeom>
                <a:ln w="19050">
                  <a:solidFill>
                    <a:srgbClr val="E48D1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6281D50E-5211-E6ED-9EFA-91F51A305F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22317" y="2989754"/>
                  <a:ext cx="0" cy="868420"/>
                </a:xfrm>
                <a:prstGeom prst="line">
                  <a:avLst/>
                </a:prstGeom>
                <a:ln w="19050">
                  <a:solidFill>
                    <a:schemeClr val="tx2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EEDF963C-CE3B-F834-A7A0-7605ECE8260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41570" y="3674593"/>
                  <a:ext cx="0" cy="182761"/>
                </a:xfrm>
                <a:prstGeom prst="line">
                  <a:avLst/>
                </a:prstGeom>
                <a:ln w="19050">
                  <a:solidFill>
                    <a:srgbClr val="00CC9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3FEA3A9-DDA6-BCC2-5C5B-C48102958818}"/>
                  </a:ext>
                </a:extLst>
              </p:cNvPr>
              <p:cNvGrpSpPr/>
              <p:nvPr/>
            </p:nvGrpSpPr>
            <p:grpSpPr>
              <a:xfrm>
                <a:off x="3649410" y="5213643"/>
                <a:ext cx="3087057" cy="158400"/>
                <a:chOff x="1249200" y="3026233"/>
                <a:chExt cx="3087057" cy="158400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D85B3AEE-45E0-D8CC-4548-656E4F1BBFD9}"/>
                    </a:ext>
                  </a:extLst>
                </p:cNvPr>
                <p:cNvSpPr/>
                <p:nvPr/>
              </p:nvSpPr>
              <p:spPr>
                <a:xfrm>
                  <a:off x="1249200" y="3026233"/>
                  <a:ext cx="1032038" cy="158400"/>
                </a:xfrm>
                <a:prstGeom prst="rect">
                  <a:avLst/>
                </a:prstGeom>
                <a:solidFill>
                  <a:srgbClr val="ECA7DE">
                    <a:alpha val="56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1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st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07158ED0-5F56-97B6-58CE-3F4065F82F17}"/>
                    </a:ext>
                  </a:extLst>
                </p:cNvPr>
                <p:cNvSpPr/>
                <p:nvPr/>
              </p:nvSpPr>
              <p:spPr>
                <a:xfrm>
                  <a:off x="2276475" y="3026233"/>
                  <a:ext cx="1033463" cy="158400"/>
                </a:xfrm>
                <a:prstGeom prst="rect">
                  <a:avLst/>
                </a:prstGeom>
                <a:solidFill>
                  <a:srgbClr val="CDA0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2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n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9940BF2D-77A2-9778-0A35-E749B7D7C0C7}"/>
                    </a:ext>
                  </a:extLst>
                </p:cNvPr>
                <p:cNvSpPr/>
                <p:nvPr/>
              </p:nvSpPr>
              <p:spPr>
                <a:xfrm>
                  <a:off x="3307557" y="3026233"/>
                  <a:ext cx="1028700" cy="158400"/>
                </a:xfrm>
                <a:prstGeom prst="rect">
                  <a:avLst/>
                </a:prstGeom>
                <a:solidFill>
                  <a:srgbClr val="BFB1D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3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r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8C140C51-56D3-9554-0059-791DB2AC0200}"/>
                  </a:ext>
                </a:extLst>
              </p:cNvPr>
              <p:cNvGrpSpPr/>
              <p:nvPr/>
            </p:nvGrpSpPr>
            <p:grpSpPr>
              <a:xfrm>
                <a:off x="4160666" y="5429989"/>
                <a:ext cx="3087057" cy="158400"/>
                <a:chOff x="1249200" y="3026233"/>
                <a:chExt cx="3087057" cy="158400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72736D3-21EB-8404-D0D3-84CE6D493D49}"/>
                    </a:ext>
                  </a:extLst>
                </p:cNvPr>
                <p:cNvSpPr/>
                <p:nvPr/>
              </p:nvSpPr>
              <p:spPr>
                <a:xfrm>
                  <a:off x="1249200" y="3026233"/>
                  <a:ext cx="1032038" cy="158400"/>
                </a:xfrm>
                <a:prstGeom prst="rect">
                  <a:avLst/>
                </a:prstGeom>
                <a:solidFill>
                  <a:srgbClr val="ECA7DE">
                    <a:alpha val="56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1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st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9C2A3136-C058-1621-9212-B4904B82BDFC}"/>
                    </a:ext>
                  </a:extLst>
                </p:cNvPr>
                <p:cNvSpPr/>
                <p:nvPr/>
              </p:nvSpPr>
              <p:spPr>
                <a:xfrm>
                  <a:off x="2276475" y="3026233"/>
                  <a:ext cx="1033463" cy="158400"/>
                </a:xfrm>
                <a:prstGeom prst="rect">
                  <a:avLst/>
                </a:prstGeom>
                <a:solidFill>
                  <a:srgbClr val="CDA0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2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n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1E0BC294-2E04-FFC0-91EA-9251A60F7BFB}"/>
                    </a:ext>
                  </a:extLst>
                </p:cNvPr>
                <p:cNvSpPr/>
                <p:nvPr/>
              </p:nvSpPr>
              <p:spPr>
                <a:xfrm>
                  <a:off x="3307557" y="3026233"/>
                  <a:ext cx="1028700" cy="158400"/>
                </a:xfrm>
                <a:prstGeom prst="rect">
                  <a:avLst/>
                </a:prstGeom>
                <a:solidFill>
                  <a:srgbClr val="BFB1D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3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r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A2CB74AB-66C4-CE47-E916-254F8F9C7B11}"/>
                  </a:ext>
                </a:extLst>
              </p:cNvPr>
              <p:cNvGrpSpPr/>
              <p:nvPr/>
            </p:nvGrpSpPr>
            <p:grpSpPr>
              <a:xfrm>
                <a:off x="4524652" y="5653587"/>
                <a:ext cx="3087057" cy="158400"/>
                <a:chOff x="1249200" y="3026233"/>
                <a:chExt cx="3087057" cy="158400"/>
              </a:xfrm>
            </p:grpSpPr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F14F16FE-4288-A17C-514B-6D353C120F5A}"/>
                    </a:ext>
                  </a:extLst>
                </p:cNvPr>
                <p:cNvSpPr/>
                <p:nvPr/>
              </p:nvSpPr>
              <p:spPr>
                <a:xfrm>
                  <a:off x="1249200" y="3026233"/>
                  <a:ext cx="1032038" cy="158400"/>
                </a:xfrm>
                <a:prstGeom prst="rect">
                  <a:avLst/>
                </a:prstGeom>
                <a:solidFill>
                  <a:srgbClr val="ECA7DE">
                    <a:alpha val="56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1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st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F84E0E8D-4852-2878-7E28-3EA6988BDB18}"/>
                    </a:ext>
                  </a:extLst>
                </p:cNvPr>
                <p:cNvSpPr/>
                <p:nvPr/>
              </p:nvSpPr>
              <p:spPr>
                <a:xfrm>
                  <a:off x="2276475" y="3026233"/>
                  <a:ext cx="1033463" cy="158400"/>
                </a:xfrm>
                <a:prstGeom prst="rect">
                  <a:avLst/>
                </a:prstGeom>
                <a:solidFill>
                  <a:srgbClr val="CDA0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2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n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EAB6DBB4-69FE-B010-4249-BE25E86AFE10}"/>
                    </a:ext>
                  </a:extLst>
                </p:cNvPr>
                <p:cNvSpPr/>
                <p:nvPr/>
              </p:nvSpPr>
              <p:spPr>
                <a:xfrm>
                  <a:off x="3307557" y="3026233"/>
                  <a:ext cx="1028700" cy="158400"/>
                </a:xfrm>
                <a:prstGeom prst="rect">
                  <a:avLst/>
                </a:prstGeom>
                <a:solidFill>
                  <a:srgbClr val="BFB1D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3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r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EF64BEEE-E254-1A0E-12FC-C72C5A8E8D25}"/>
                  </a:ext>
                </a:extLst>
              </p:cNvPr>
              <p:cNvGrpSpPr/>
              <p:nvPr/>
            </p:nvGrpSpPr>
            <p:grpSpPr>
              <a:xfrm>
                <a:off x="4929477" y="5858372"/>
                <a:ext cx="3087057" cy="158400"/>
                <a:chOff x="1249200" y="3026233"/>
                <a:chExt cx="3087057" cy="158400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30A60C2E-7AE4-84D0-38FE-FE8CAE122E00}"/>
                    </a:ext>
                  </a:extLst>
                </p:cNvPr>
                <p:cNvSpPr/>
                <p:nvPr/>
              </p:nvSpPr>
              <p:spPr>
                <a:xfrm>
                  <a:off x="1249200" y="3026233"/>
                  <a:ext cx="1032038" cy="158400"/>
                </a:xfrm>
                <a:prstGeom prst="rect">
                  <a:avLst/>
                </a:prstGeom>
                <a:solidFill>
                  <a:srgbClr val="ECA7DE">
                    <a:alpha val="56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1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st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68" name="Rectangle 67">
                  <a:extLst>
                    <a:ext uri="{FF2B5EF4-FFF2-40B4-BE49-F238E27FC236}">
                      <a16:creationId xmlns:a16="http://schemas.microsoft.com/office/drawing/2014/main" id="{7D88E474-5ED6-9AFD-07A7-17D5075FA18F}"/>
                    </a:ext>
                  </a:extLst>
                </p:cNvPr>
                <p:cNvSpPr/>
                <p:nvPr/>
              </p:nvSpPr>
              <p:spPr>
                <a:xfrm>
                  <a:off x="2276475" y="3026233"/>
                  <a:ext cx="1033463" cy="158400"/>
                </a:xfrm>
                <a:prstGeom prst="rect">
                  <a:avLst/>
                </a:prstGeom>
                <a:solidFill>
                  <a:srgbClr val="CDA0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2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n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  <p:sp>
              <p:nvSpPr>
                <p:cNvPr id="69" name="Rectangle 68">
                  <a:extLst>
                    <a:ext uri="{FF2B5EF4-FFF2-40B4-BE49-F238E27FC236}">
                      <a16:creationId xmlns:a16="http://schemas.microsoft.com/office/drawing/2014/main" id="{FEADD68D-38F0-C290-AF39-FBB57100D924}"/>
                    </a:ext>
                  </a:extLst>
                </p:cNvPr>
                <p:cNvSpPr/>
                <p:nvPr/>
              </p:nvSpPr>
              <p:spPr>
                <a:xfrm>
                  <a:off x="3307557" y="3026233"/>
                  <a:ext cx="1028700" cy="158400"/>
                </a:xfrm>
                <a:prstGeom prst="rect">
                  <a:avLst/>
                </a:prstGeom>
                <a:solidFill>
                  <a:srgbClr val="BFB1D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3</a:t>
                  </a:r>
                  <a:r>
                    <a:rPr lang="en-GB" sz="1100" baseline="30000" dirty="0">
                      <a:solidFill>
                        <a:schemeClr val="accent1"/>
                      </a:solidFill>
                    </a:rPr>
                    <a:t>rd</a:t>
                  </a:r>
                  <a:r>
                    <a:rPr lang="en-GB" sz="1100" dirty="0">
                      <a:solidFill>
                        <a:schemeClr val="accent1"/>
                      </a:solidFill>
                    </a:rPr>
                    <a:t> trimester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85B14615-5831-1A4C-9C90-51AD6BB44D21}"/>
                  </a:ext>
                </a:extLst>
              </p:cNvPr>
              <p:cNvGrpSpPr/>
              <p:nvPr/>
            </p:nvGrpSpPr>
            <p:grpSpPr>
              <a:xfrm>
                <a:off x="7670150" y="5182200"/>
                <a:ext cx="38665" cy="868420"/>
                <a:chOff x="5222317" y="2994790"/>
                <a:chExt cx="38665" cy="868420"/>
              </a:xfrm>
            </p:grpSpPr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4BBD4228-8D4A-3F97-8EC9-48CDB4F7AC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60982" y="2995200"/>
                  <a:ext cx="0" cy="637200"/>
                </a:xfrm>
                <a:prstGeom prst="line">
                  <a:avLst/>
                </a:prstGeom>
                <a:ln w="19050">
                  <a:solidFill>
                    <a:srgbClr val="E48D1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0D38A6A6-E591-ABB6-F418-2EEE80966C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22317" y="2994790"/>
                  <a:ext cx="0" cy="868420"/>
                </a:xfrm>
                <a:prstGeom prst="line">
                  <a:avLst/>
                </a:prstGeom>
                <a:ln w="19050">
                  <a:solidFill>
                    <a:schemeClr val="tx2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63BBC9C4-5037-29C5-4D64-A3E1F57D42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41570" y="2995200"/>
                  <a:ext cx="0" cy="637200"/>
                </a:xfrm>
                <a:prstGeom prst="line">
                  <a:avLst/>
                </a:prstGeom>
                <a:ln w="19050">
                  <a:solidFill>
                    <a:srgbClr val="00CC9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F412F223-9D1F-F379-7CCA-EC49AA34F0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106" y="5182200"/>
                <a:ext cx="0" cy="868420"/>
              </a:xfrm>
              <a:prstGeom prst="line">
                <a:avLst/>
              </a:prstGeom>
              <a:ln w="1905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4A3031D2-1D19-2D1C-9D7D-9A6F04673D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61327" y="5182200"/>
                <a:ext cx="0" cy="868420"/>
              </a:xfrm>
              <a:prstGeom prst="line">
                <a:avLst/>
              </a:prstGeom>
              <a:ln w="1905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F3F81A87-4F74-D02A-5F64-DD908B2FB5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58145" y="5182200"/>
                <a:ext cx="0" cy="868420"/>
              </a:xfrm>
              <a:prstGeom prst="line">
                <a:avLst/>
              </a:prstGeom>
              <a:ln w="1905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241AE84D-FDCB-9F38-6F06-1DE5857211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61261" y="5182200"/>
                <a:ext cx="0" cy="864000"/>
              </a:xfrm>
              <a:prstGeom prst="line">
                <a:avLst/>
              </a:prstGeom>
              <a:ln w="1905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C682A36F-2CCA-71F9-850C-F442D682B7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65146" y="5182200"/>
                <a:ext cx="0" cy="864000"/>
              </a:xfrm>
              <a:prstGeom prst="line">
                <a:avLst/>
              </a:prstGeom>
              <a:ln w="1905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679AE267-9502-10E6-9BD1-FFC62CBBD8F7}"/>
                  </a:ext>
                </a:extLst>
              </p:cNvPr>
              <p:cNvGrpSpPr/>
              <p:nvPr/>
            </p:nvGrpSpPr>
            <p:grpSpPr>
              <a:xfrm>
                <a:off x="3649410" y="5089833"/>
                <a:ext cx="6030000" cy="93261"/>
                <a:chOff x="1249200" y="2902423"/>
                <a:chExt cx="6030000" cy="93261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30B01266-C464-2385-0352-84CC84750C0D}"/>
                    </a:ext>
                  </a:extLst>
                </p:cNvPr>
                <p:cNvCxnSpPr/>
                <p:nvPr/>
              </p:nvCxnSpPr>
              <p:spPr>
                <a:xfrm>
                  <a:off x="1249200" y="2995684"/>
                  <a:ext cx="6030000" cy="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18F6F53D-CE5B-65EB-050A-D6C05130FE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55584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E42E227F-29DC-CF47-206E-46E12C7806F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6493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6463ED5C-00CB-F62F-C0A6-90DF13126C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63445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38C2ABC1-8766-E704-163A-3CA8F70BA4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5589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9A25E998-377B-534A-A836-1CD0D3C11A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5847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E5F2EB3D-FC6D-11BC-8BC4-BCEC0CC165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6264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7525C99C-6651-C56C-A7C5-52DB3F745B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68033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B9329110-A1FF-65D8-612E-DF3471FD0D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7061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66464BD7-8E29-83C5-4353-5D90BD53116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271986" y="2902423"/>
                  <a:ext cx="0" cy="88710"/>
                </a:xfrm>
                <a:prstGeom prst="line">
                  <a:avLst/>
                </a:prstGeom>
                <a:ln w="1905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62BEC00-A564-A2FF-2E36-AA69B9B8773F}"/>
                  </a:ext>
                </a:extLst>
              </p:cNvPr>
              <p:cNvGrpSpPr/>
              <p:nvPr/>
            </p:nvGrpSpPr>
            <p:grpSpPr>
              <a:xfrm>
                <a:off x="3197119" y="4880678"/>
                <a:ext cx="6603958" cy="262800"/>
                <a:chOff x="796909" y="2710686"/>
                <a:chExt cx="6603958" cy="262800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F9D43042-ED40-B84C-D3E4-79C475FC25DE}"/>
                    </a:ext>
                  </a:extLst>
                </p:cNvPr>
                <p:cNvSpPr txBox="1"/>
                <p:nvPr/>
              </p:nvSpPr>
              <p:spPr>
                <a:xfrm>
                  <a:off x="6146573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65</a:t>
                  </a: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0B1B47EC-D576-F4DA-8A09-97A4A94BB674}"/>
                    </a:ext>
                  </a:extLst>
                </p:cNvPr>
                <p:cNvSpPr txBox="1"/>
                <p:nvPr/>
              </p:nvSpPr>
              <p:spPr>
                <a:xfrm>
                  <a:off x="796909" y="2710686"/>
                  <a:ext cx="432000" cy="26161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r>
                    <a:rPr lang="en-GB" sz="1100" dirty="0">
                      <a:solidFill>
                        <a:schemeClr val="accent1"/>
                      </a:solidFill>
                    </a:rPr>
                    <a:t>Week</a:t>
                  </a: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306F5D6F-DD10-3FDE-94E8-E23D91E7E9F4}"/>
                    </a:ext>
                  </a:extLst>
                </p:cNvPr>
                <p:cNvSpPr txBox="1"/>
                <p:nvPr/>
              </p:nvSpPr>
              <p:spPr>
                <a:xfrm>
                  <a:off x="1166169" y="2710686"/>
                  <a:ext cx="180000" cy="26161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0</a:t>
                  </a: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1AEA6DD7-B143-FC60-A488-932F88791A6B}"/>
                    </a:ext>
                  </a:extLst>
                </p:cNvPr>
                <p:cNvSpPr txBox="1"/>
                <p:nvPr/>
              </p:nvSpPr>
              <p:spPr>
                <a:xfrm>
                  <a:off x="1466218" y="2710686"/>
                  <a:ext cx="180000" cy="26161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4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2C2384B3-4CD3-1DCD-66BE-90EC2D644971}"/>
                    </a:ext>
                  </a:extLst>
                </p:cNvPr>
                <p:cNvSpPr txBox="1"/>
                <p:nvPr/>
              </p:nvSpPr>
              <p:spPr>
                <a:xfrm>
                  <a:off x="1775779" y="2710686"/>
                  <a:ext cx="180000" cy="26161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8</a:t>
                  </a: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019002F4-5E8E-D8B2-56B4-92E87E3C4B65}"/>
                    </a:ext>
                  </a:extLst>
                </p:cNvPr>
                <p:cNvSpPr txBox="1"/>
                <p:nvPr/>
              </p:nvSpPr>
              <p:spPr>
                <a:xfrm>
                  <a:off x="2128209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13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25E39A41-214A-387E-5AC8-B611EE3D36AE}"/>
                    </a:ext>
                  </a:extLst>
                </p:cNvPr>
                <p:cNvSpPr txBox="1"/>
                <p:nvPr/>
              </p:nvSpPr>
              <p:spPr>
                <a:xfrm>
                  <a:off x="3133120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26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88128B97-A21F-2E54-1159-589607E5D0AF}"/>
                    </a:ext>
                  </a:extLst>
                </p:cNvPr>
                <p:cNvSpPr txBox="1"/>
                <p:nvPr/>
              </p:nvSpPr>
              <p:spPr>
                <a:xfrm>
                  <a:off x="4133244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39</a:t>
                  </a: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60C21439-2EA9-2819-E8EB-A058D19C8DC2}"/>
                    </a:ext>
                  </a:extLst>
                </p:cNvPr>
                <p:cNvSpPr txBox="1"/>
                <p:nvPr/>
              </p:nvSpPr>
              <p:spPr>
                <a:xfrm>
                  <a:off x="5144465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52</a:t>
                  </a: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735A3EAE-ACBD-9505-1AE5-452DBCFF4B10}"/>
                    </a:ext>
                  </a:extLst>
                </p:cNvPr>
                <p:cNvSpPr txBox="1"/>
                <p:nvPr/>
              </p:nvSpPr>
              <p:spPr>
                <a:xfrm>
                  <a:off x="7148867" y="2710686"/>
                  <a:ext cx="252000" cy="262800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en-GB" sz="1100" dirty="0">
                      <a:solidFill>
                        <a:schemeClr val="accent1"/>
                      </a:solidFill>
                    </a:rPr>
                    <a:t>78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97766D3F-BACB-305E-23E4-6BEF28329186}"/>
                  </a:ext>
                </a:extLst>
              </p:cNvPr>
              <p:cNvGrpSpPr/>
              <p:nvPr/>
            </p:nvGrpSpPr>
            <p:grpSpPr>
              <a:xfrm>
                <a:off x="4585908" y="6185025"/>
                <a:ext cx="4617417" cy="280407"/>
                <a:chOff x="2185698" y="3997615"/>
                <a:chExt cx="4617417" cy="280407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8A65DF90-7463-6D99-1068-30AF570EDFFB}"/>
                    </a:ext>
                  </a:extLst>
                </p:cNvPr>
                <p:cNvGrpSpPr/>
                <p:nvPr/>
              </p:nvGrpSpPr>
              <p:grpSpPr>
                <a:xfrm>
                  <a:off x="2185698" y="3997615"/>
                  <a:ext cx="4617417" cy="280407"/>
                  <a:chOff x="2185698" y="3997615"/>
                  <a:chExt cx="4617417" cy="280407"/>
                </a:xfrm>
              </p:grpSpPr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5F9347D5-3266-C8C1-2B6F-0121CABCE916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698" y="3997615"/>
                    <a:ext cx="90000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GB" sz="1100" dirty="0">
                        <a:solidFill>
                          <a:schemeClr val="accent1"/>
                        </a:solidFill>
                      </a:rPr>
                      <a:t>PK samples</a:t>
                    </a:r>
                  </a:p>
                </p:txBody>
              </p:sp>
              <p:sp>
                <p:nvSpPr>
                  <p:cNvPr id="41" name="TextBox 40">
                    <a:extLst>
                      <a:ext uri="{FF2B5EF4-FFF2-40B4-BE49-F238E27FC236}">
                        <a16:creationId xmlns:a16="http://schemas.microsoft.com/office/drawing/2014/main" id="{41FF8059-4306-3737-752C-7FAF2E9C8E69}"/>
                      </a:ext>
                    </a:extLst>
                  </p:cNvPr>
                  <p:cNvSpPr txBox="1"/>
                  <p:nvPr/>
                </p:nvSpPr>
                <p:spPr>
                  <a:xfrm>
                    <a:off x="3257935" y="4013168"/>
                    <a:ext cx="1393539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GB" sz="1100" b="1" dirty="0">
                        <a:solidFill>
                          <a:schemeClr val="tx2"/>
                        </a:solidFill>
                      </a:rPr>
                      <a:t>Maternal plasma</a:t>
                    </a:r>
                  </a:p>
                </p:txBody>
              </p:sp>
              <p:sp>
                <p:nvSpPr>
                  <p:cNvPr id="42" name="TextBox 41">
                    <a:extLst>
                      <a:ext uri="{FF2B5EF4-FFF2-40B4-BE49-F238E27FC236}">
                        <a16:creationId xmlns:a16="http://schemas.microsoft.com/office/drawing/2014/main" id="{D380DBD6-219F-11CC-A2F7-ACB42B187292}"/>
                      </a:ext>
                    </a:extLst>
                  </p:cNvPr>
                  <p:cNvSpPr txBox="1"/>
                  <p:nvPr/>
                </p:nvSpPr>
                <p:spPr>
                  <a:xfrm>
                    <a:off x="4648019" y="4016412"/>
                    <a:ext cx="1207799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GB" sz="1100" b="1" dirty="0">
                        <a:solidFill>
                          <a:srgbClr val="00CC9B"/>
                        </a:solidFill>
                      </a:rPr>
                      <a:t>Infant plasma</a:t>
                    </a:r>
                  </a:p>
                </p:txBody>
              </p:sp>
              <p:sp>
                <p:nvSpPr>
                  <p:cNvPr id="43" name="TextBox 42">
                    <a:extLst>
                      <a:ext uri="{FF2B5EF4-FFF2-40B4-BE49-F238E27FC236}">
                        <a16:creationId xmlns:a16="http://schemas.microsoft.com/office/drawing/2014/main" id="{61F6E008-679C-7D99-98EB-B631632F240F}"/>
                      </a:ext>
                    </a:extLst>
                  </p:cNvPr>
                  <p:cNvSpPr txBox="1"/>
                  <p:nvPr/>
                </p:nvSpPr>
                <p:spPr>
                  <a:xfrm>
                    <a:off x="5831115" y="4008632"/>
                    <a:ext cx="97200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GB" sz="1100" b="1" dirty="0">
                        <a:solidFill>
                          <a:srgbClr val="E48D1A"/>
                        </a:solidFill>
                      </a:rPr>
                      <a:t>Breast milk</a:t>
                    </a:r>
                  </a:p>
                </p:txBody>
              </p:sp>
            </p:grp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7CC1E5BE-4FA2-E260-962D-5C0551B1C2F1}"/>
                    </a:ext>
                  </a:extLst>
                </p:cNvPr>
                <p:cNvGrpSpPr/>
                <p:nvPr/>
              </p:nvGrpSpPr>
              <p:grpSpPr>
                <a:xfrm>
                  <a:off x="3033333" y="4130996"/>
                  <a:ext cx="2827680" cy="0"/>
                  <a:chOff x="3033333" y="4250516"/>
                  <a:chExt cx="2827680" cy="0"/>
                </a:xfrm>
              </p:grpSpPr>
              <p:cxnSp>
                <p:nvCxnSpPr>
                  <p:cNvPr id="37" name="Straight Connector 36">
                    <a:extLst>
                      <a:ext uri="{FF2B5EF4-FFF2-40B4-BE49-F238E27FC236}">
                        <a16:creationId xmlns:a16="http://schemas.microsoft.com/office/drawing/2014/main" id="{9D1BDFE4-8031-8DEC-975B-28AC3DA6EB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033333" y="4250516"/>
                    <a:ext cx="216000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Straight Connector 37">
                    <a:extLst>
                      <a:ext uri="{FF2B5EF4-FFF2-40B4-BE49-F238E27FC236}">
                        <a16:creationId xmlns:a16="http://schemas.microsoft.com/office/drawing/2014/main" id="{E8B9B86E-190D-9BCF-0BCF-94C6E96073C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447387" y="4250516"/>
                    <a:ext cx="216000" cy="0"/>
                  </a:xfrm>
                  <a:prstGeom prst="line">
                    <a:avLst/>
                  </a:prstGeom>
                  <a:ln w="19050">
                    <a:solidFill>
                      <a:srgbClr val="00CC9B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Straight Connector 38">
                    <a:extLst>
                      <a:ext uri="{FF2B5EF4-FFF2-40B4-BE49-F238E27FC236}">
                        <a16:creationId xmlns:a16="http://schemas.microsoft.com/office/drawing/2014/main" id="{A6A186DB-DEB8-1547-93E6-1A59ED237BF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645013" y="4250516"/>
                    <a:ext cx="216000" cy="0"/>
                  </a:xfrm>
                  <a:prstGeom prst="line">
                    <a:avLst/>
                  </a:prstGeom>
                  <a:ln w="19050">
                    <a:solidFill>
                      <a:srgbClr val="E48D1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133" name="Slide Number Placeholder 3">
            <a:extLst>
              <a:ext uri="{FF2B5EF4-FFF2-40B4-BE49-F238E27FC236}">
                <a16:creationId xmlns:a16="http://schemas.microsoft.com/office/drawing/2014/main" id="{FDA2831F-7B88-C044-9264-0AE7D14E9E94}"/>
              </a:ext>
            </a:extLst>
          </p:cNvPr>
          <p:cNvSpPr txBox="1">
            <a:spLocks/>
          </p:cNvSpPr>
          <p:nvPr/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BEAA09E-D67E-864E-8466-C38E88600C4F}" type="slidenum">
              <a:rPr lang="en-US" sz="1000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5</a:t>
            </a:fld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E09F91-3825-4F65-D6F0-02A128917933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45854" y="237600"/>
            <a:ext cx="3024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67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DDAFB-2AFA-449F-9711-00DA4D6C4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202" y="-44665"/>
            <a:ext cx="10972800" cy="987019"/>
          </a:xfrm>
        </p:spPr>
        <p:txBody>
          <a:bodyPr/>
          <a:lstStyle/>
          <a:p>
            <a:r>
              <a:rPr lang="en-US" dirty="0"/>
              <a:t>              : Best practices for inclusion of PLP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9BBEE62C-2D3B-0BD2-CBCD-989F18FDB9FB}"/>
              </a:ext>
            </a:extLst>
          </p:cNvPr>
          <p:cNvSpPr txBox="1"/>
          <p:nvPr/>
        </p:nvSpPr>
        <p:spPr>
          <a:xfrm>
            <a:off x="590672" y="6509528"/>
            <a:ext cx="11074514" cy="288147"/>
          </a:xfrm>
          <a:prstGeom prst="rect">
            <a:avLst/>
          </a:prstGeom>
          <a:noFill/>
        </p:spPr>
        <p:txBody>
          <a:bodyPr wrap="square" lIns="72000" tIns="72000" rIns="72000" bIns="0" rtlCol="0" anchor="b" anchorCtr="0">
            <a:spAutoFit/>
          </a:bodyPr>
          <a:lstStyle/>
          <a:p>
            <a:r>
              <a:rPr lang="en-GB" sz="700" dirty="0">
                <a:solidFill>
                  <a:schemeClr val="accent1"/>
                </a:solidFill>
                <a:latin typeface="Trebuchet MS" panose="020B0603020202020204" pitchFamily="34" charset="0"/>
              </a:rPr>
              <a:t>G-CAG, Global Community Advisory Groups; PK, pharmacokinetic; PLP, pregnant and lactating people;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EP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pre-exposure prophylaxis;</a:t>
            </a:r>
            <a:r>
              <a:rPr lang="en-GB" sz="700" dirty="0">
                <a:solidFill>
                  <a:schemeClr val="accent1"/>
                </a:solidFill>
                <a:latin typeface="Trebuchet MS" panose="020B0603020202020204" pitchFamily="34" charset="0"/>
              </a:rPr>
              <a:t> PWBP, people who would benefit from </a:t>
            </a:r>
            <a:r>
              <a:rPr lang="en-GB" sz="700" dirty="0" err="1">
                <a:solidFill>
                  <a:schemeClr val="accent1"/>
                </a:solidFill>
                <a:latin typeface="Trebuchet MS" panose="020B0603020202020204" pitchFamily="34" charset="0"/>
              </a:rPr>
              <a:t>PrEP.</a:t>
            </a:r>
            <a:endParaRPr lang="en-GB" sz="7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/>
            <a:endParaRPr lang="en-GB" sz="700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AE824E7-5301-6C4D-595F-1E2F277522D4}"/>
              </a:ext>
            </a:extLst>
          </p:cNvPr>
          <p:cNvGrpSpPr>
            <a:grpSpLocks noChangeAspect="1"/>
          </p:cNvGrpSpPr>
          <p:nvPr/>
        </p:nvGrpSpPr>
        <p:grpSpPr>
          <a:xfrm>
            <a:off x="382082" y="235248"/>
            <a:ext cx="2582874" cy="576000"/>
            <a:chOff x="4247493" y="1310752"/>
            <a:chExt cx="820560" cy="182991"/>
          </a:xfrm>
        </p:grpSpPr>
        <p:sp>
          <p:nvSpPr>
            <p:cNvPr id="5" name="Freeform 49">
              <a:extLst>
                <a:ext uri="{FF2B5EF4-FFF2-40B4-BE49-F238E27FC236}">
                  <a16:creationId xmlns:a16="http://schemas.microsoft.com/office/drawing/2014/main" id="{FDEB5C6E-BC44-4490-436B-D27380DD3B5F}"/>
                </a:ext>
              </a:extLst>
            </p:cNvPr>
            <p:cNvSpPr/>
            <p:nvPr/>
          </p:nvSpPr>
          <p:spPr>
            <a:xfrm>
              <a:off x="4247493" y="1310752"/>
              <a:ext cx="152978" cy="137429"/>
            </a:xfrm>
            <a:custGeom>
              <a:avLst/>
              <a:gdLst>
                <a:gd name="connsiteX0" fmla="*/ 944704 w 1288106"/>
                <a:gd name="connsiteY0" fmla="*/ 0 h 1144132"/>
                <a:gd name="connsiteX1" fmla="*/ 938299 w 1288106"/>
                <a:gd name="connsiteY1" fmla="*/ 144017 h 1144132"/>
                <a:gd name="connsiteX2" fmla="*/ 1005141 w 1288106"/>
                <a:gd name="connsiteY2" fmla="*/ 436516 h 1144132"/>
                <a:gd name="connsiteX3" fmla="*/ 1068920 w 1288106"/>
                <a:gd name="connsiteY3" fmla="*/ 555692 h 1144132"/>
                <a:gd name="connsiteX4" fmla="*/ 1089251 w 1288106"/>
                <a:gd name="connsiteY4" fmla="*/ 562112 h 1144132"/>
                <a:gd name="connsiteX5" fmla="*/ 1277802 w 1288106"/>
                <a:gd name="connsiteY5" fmla="*/ 541179 h 1144132"/>
                <a:gd name="connsiteX6" fmla="*/ 1285321 w 1288106"/>
                <a:gd name="connsiteY6" fmla="*/ 543133 h 1144132"/>
                <a:gd name="connsiteX7" fmla="*/ 1288107 w 1288106"/>
                <a:gd name="connsiteY7" fmla="*/ 545086 h 1144132"/>
                <a:gd name="connsiteX8" fmla="*/ 1278359 w 1288106"/>
                <a:gd name="connsiteY8" fmla="*/ 551785 h 1144132"/>
                <a:gd name="connsiteX9" fmla="*/ 1053602 w 1288106"/>
                <a:gd name="connsiteY9" fmla="*/ 696081 h 1144132"/>
                <a:gd name="connsiteX10" fmla="*/ 870621 w 1288106"/>
                <a:gd name="connsiteY10" fmla="*/ 935271 h 1144132"/>
                <a:gd name="connsiteX11" fmla="*/ 875912 w 1288106"/>
                <a:gd name="connsiteY11" fmla="*/ 952576 h 1144132"/>
                <a:gd name="connsiteX12" fmla="*/ 985367 w 1288106"/>
                <a:gd name="connsiteY12" fmla="*/ 1094639 h 1144132"/>
                <a:gd name="connsiteX13" fmla="*/ 991494 w 1288106"/>
                <a:gd name="connsiteY13" fmla="*/ 1119479 h 1144132"/>
                <a:gd name="connsiteX14" fmla="*/ 965314 w 1288106"/>
                <a:gd name="connsiteY14" fmla="*/ 1100779 h 1144132"/>
                <a:gd name="connsiteX15" fmla="*/ 587655 w 1288106"/>
                <a:gd name="connsiteY15" fmla="*/ 955367 h 1144132"/>
                <a:gd name="connsiteX16" fmla="*/ 446172 w 1288106"/>
                <a:gd name="connsiteY16" fmla="*/ 950901 h 1144132"/>
                <a:gd name="connsiteX17" fmla="*/ 432804 w 1288106"/>
                <a:gd name="connsiteY17" fmla="*/ 964298 h 1144132"/>
                <a:gd name="connsiteX18" fmla="*/ 361227 w 1288106"/>
                <a:gd name="connsiteY18" fmla="*/ 1133434 h 1144132"/>
                <a:gd name="connsiteX19" fmla="*/ 348415 w 1288106"/>
                <a:gd name="connsiteY19" fmla="*/ 1143760 h 1144132"/>
                <a:gd name="connsiteX20" fmla="*/ 348137 w 1288106"/>
                <a:gd name="connsiteY20" fmla="*/ 1128689 h 1144132"/>
                <a:gd name="connsiteX21" fmla="*/ 352315 w 1288106"/>
                <a:gd name="connsiteY21" fmla="*/ 1016769 h 1144132"/>
                <a:gd name="connsiteX22" fmla="*/ 284915 w 1288106"/>
                <a:gd name="connsiteY22" fmla="*/ 711152 h 1144132"/>
                <a:gd name="connsiteX23" fmla="*/ 220023 w 1288106"/>
                <a:gd name="connsiteY23" fmla="*/ 590022 h 1144132"/>
                <a:gd name="connsiteX24" fmla="*/ 202198 w 1288106"/>
                <a:gd name="connsiteY24" fmla="*/ 584161 h 1144132"/>
                <a:gd name="connsiteX25" fmla="*/ 50967 w 1288106"/>
                <a:gd name="connsiteY25" fmla="*/ 611513 h 1144132"/>
                <a:gd name="connsiteX26" fmla="*/ 0 w 1288106"/>
                <a:gd name="connsiteY26" fmla="*/ 602302 h 1144132"/>
                <a:gd name="connsiteX27" fmla="*/ 0 w 1288106"/>
                <a:gd name="connsiteY27" fmla="*/ 600070 h 1144132"/>
                <a:gd name="connsiteX28" fmla="*/ 255672 w 1288106"/>
                <a:gd name="connsiteY28" fmla="*/ 433446 h 1144132"/>
                <a:gd name="connsiteX29" fmla="*/ 417764 w 1288106"/>
                <a:gd name="connsiteY29" fmla="*/ 215467 h 1144132"/>
                <a:gd name="connsiteX30" fmla="*/ 413308 w 1288106"/>
                <a:gd name="connsiteY30" fmla="*/ 193697 h 1144132"/>
                <a:gd name="connsiteX31" fmla="*/ 302740 w 1288106"/>
                <a:gd name="connsiteY31" fmla="*/ 45773 h 1144132"/>
                <a:gd name="connsiteX32" fmla="*/ 299398 w 1288106"/>
                <a:gd name="connsiteY32" fmla="*/ 29027 h 1144132"/>
                <a:gd name="connsiteX33" fmla="*/ 311374 w 1288106"/>
                <a:gd name="connsiteY33" fmla="*/ 36004 h 1144132"/>
                <a:gd name="connsiteX34" fmla="*/ 840542 w 1288106"/>
                <a:gd name="connsiteY34" fmla="*/ 197604 h 1144132"/>
                <a:gd name="connsiteX35" fmla="*/ 858088 w 1288106"/>
                <a:gd name="connsiteY35" fmla="*/ 182812 h 1144132"/>
                <a:gd name="connsiteX36" fmla="*/ 941084 w 1288106"/>
                <a:gd name="connsiteY36" fmla="*/ 0 h 1144132"/>
                <a:gd name="connsiteX37" fmla="*/ 945540 w 1288106"/>
                <a:gd name="connsiteY37" fmla="*/ 0 h 1144132"/>
                <a:gd name="connsiteX38" fmla="*/ 238961 w 1288106"/>
                <a:gd name="connsiteY38" fmla="*/ 567415 h 1144132"/>
                <a:gd name="connsiteX39" fmla="*/ 245367 w 1288106"/>
                <a:gd name="connsiteY39" fmla="*/ 571322 h 1144132"/>
                <a:gd name="connsiteX40" fmla="*/ 348415 w 1288106"/>
                <a:gd name="connsiteY40" fmla="*/ 658960 h 1144132"/>
                <a:gd name="connsiteX41" fmla="*/ 427234 w 1288106"/>
                <a:gd name="connsiteY41" fmla="*/ 828654 h 1144132"/>
                <a:gd name="connsiteX42" fmla="*/ 430854 w 1288106"/>
                <a:gd name="connsiteY42" fmla="*/ 838423 h 1144132"/>
                <a:gd name="connsiteX43" fmla="*/ 440045 w 1288106"/>
                <a:gd name="connsiteY43" fmla="*/ 831724 h 1144132"/>
                <a:gd name="connsiteX44" fmla="*/ 478479 w 1288106"/>
                <a:gd name="connsiteY44" fmla="*/ 800186 h 1144132"/>
                <a:gd name="connsiteX45" fmla="*/ 679842 w 1288106"/>
                <a:gd name="connsiteY45" fmla="*/ 813304 h 1144132"/>
                <a:gd name="connsiteX46" fmla="*/ 686526 w 1288106"/>
                <a:gd name="connsiteY46" fmla="*/ 822514 h 1144132"/>
                <a:gd name="connsiteX47" fmla="*/ 675664 w 1288106"/>
                <a:gd name="connsiteY47" fmla="*/ 826142 h 1144132"/>
                <a:gd name="connsiteX48" fmla="*/ 604087 w 1288106"/>
                <a:gd name="connsiteY48" fmla="*/ 833120 h 1144132"/>
                <a:gd name="connsiteX49" fmla="*/ 447843 w 1288106"/>
                <a:gd name="connsiteY49" fmla="*/ 883637 h 1144132"/>
                <a:gd name="connsiteX50" fmla="*/ 434753 w 1288106"/>
                <a:gd name="connsiteY50" fmla="*/ 907640 h 1144132"/>
                <a:gd name="connsiteX51" fmla="*/ 437538 w 1288106"/>
                <a:gd name="connsiteY51" fmla="*/ 919083 h 1144132"/>
                <a:gd name="connsiteX52" fmla="*/ 448122 w 1288106"/>
                <a:gd name="connsiteY52" fmla="*/ 915455 h 1144132"/>
                <a:gd name="connsiteX53" fmla="*/ 634166 w 1288106"/>
                <a:gd name="connsiteY53" fmla="*/ 869124 h 1144132"/>
                <a:gd name="connsiteX54" fmla="*/ 758381 w 1288106"/>
                <a:gd name="connsiteY54" fmla="*/ 890336 h 1144132"/>
                <a:gd name="connsiteX55" fmla="*/ 766737 w 1288106"/>
                <a:gd name="connsiteY55" fmla="*/ 891173 h 1144132"/>
                <a:gd name="connsiteX56" fmla="*/ 766737 w 1288106"/>
                <a:gd name="connsiteY56" fmla="*/ 881963 h 1144132"/>
                <a:gd name="connsiteX57" fmla="*/ 760888 w 1288106"/>
                <a:gd name="connsiteY57" fmla="*/ 795162 h 1144132"/>
                <a:gd name="connsiteX58" fmla="*/ 874241 w 1288106"/>
                <a:gd name="connsiteY58" fmla="*/ 662030 h 1144132"/>
                <a:gd name="connsiteX59" fmla="*/ 882318 w 1288106"/>
                <a:gd name="connsiteY59" fmla="*/ 661751 h 1144132"/>
                <a:gd name="connsiteX60" fmla="*/ 880926 w 1288106"/>
                <a:gd name="connsiteY60" fmla="*/ 669008 h 1144132"/>
                <a:gd name="connsiteX61" fmla="*/ 860594 w 1288106"/>
                <a:gd name="connsiteY61" fmla="*/ 713385 h 1144132"/>
                <a:gd name="connsiteX62" fmla="*/ 815754 w 1288106"/>
                <a:gd name="connsiteY62" fmla="*/ 896197 h 1144132"/>
                <a:gd name="connsiteX63" fmla="*/ 833301 w 1288106"/>
                <a:gd name="connsiteY63" fmla="*/ 924107 h 1144132"/>
                <a:gd name="connsiteX64" fmla="*/ 843048 w 1288106"/>
                <a:gd name="connsiteY64" fmla="*/ 918525 h 1144132"/>
                <a:gd name="connsiteX65" fmla="*/ 846112 w 1288106"/>
                <a:gd name="connsiteY65" fmla="*/ 869961 h 1144132"/>
                <a:gd name="connsiteX66" fmla="*/ 973948 w 1288106"/>
                <a:gd name="connsiteY66" fmla="*/ 636074 h 1144132"/>
                <a:gd name="connsiteX67" fmla="*/ 981468 w 1288106"/>
                <a:gd name="connsiteY67" fmla="*/ 626305 h 1144132"/>
                <a:gd name="connsiteX68" fmla="*/ 970606 w 1288106"/>
                <a:gd name="connsiteY68" fmla="*/ 622119 h 1144132"/>
                <a:gd name="connsiteX69" fmla="*/ 858923 w 1288106"/>
                <a:gd name="connsiteY69" fmla="*/ 543970 h 1144132"/>
                <a:gd name="connsiteX70" fmla="*/ 836086 w 1288106"/>
                <a:gd name="connsiteY70" fmla="*/ 420607 h 1144132"/>
                <a:gd name="connsiteX71" fmla="*/ 839706 w 1288106"/>
                <a:gd name="connsiteY71" fmla="*/ 411955 h 1144132"/>
                <a:gd name="connsiteX72" fmla="*/ 847226 w 1288106"/>
                <a:gd name="connsiteY72" fmla="*/ 418932 h 1144132"/>
                <a:gd name="connsiteX73" fmla="*/ 877305 w 1288106"/>
                <a:gd name="connsiteY73" fmla="*/ 461635 h 1144132"/>
                <a:gd name="connsiteX74" fmla="*/ 1004584 w 1288106"/>
                <a:gd name="connsiteY74" fmla="*/ 584998 h 1144132"/>
                <a:gd name="connsiteX75" fmla="*/ 1042461 w 1288106"/>
                <a:gd name="connsiteY75" fmla="*/ 586114 h 1144132"/>
                <a:gd name="connsiteX76" fmla="*/ 1042461 w 1288106"/>
                <a:gd name="connsiteY76" fmla="*/ 574113 h 1144132"/>
                <a:gd name="connsiteX77" fmla="*/ 975619 w 1288106"/>
                <a:gd name="connsiteY77" fmla="*/ 524991 h 1144132"/>
                <a:gd name="connsiteX78" fmla="*/ 862823 w 1288106"/>
                <a:gd name="connsiteY78" fmla="*/ 317339 h 1144132"/>
                <a:gd name="connsiteX79" fmla="*/ 858923 w 1288106"/>
                <a:gd name="connsiteY79" fmla="*/ 307850 h 1144132"/>
                <a:gd name="connsiteX80" fmla="*/ 850568 w 1288106"/>
                <a:gd name="connsiteY80" fmla="*/ 314269 h 1144132"/>
                <a:gd name="connsiteX81" fmla="*/ 787625 w 1288106"/>
                <a:gd name="connsiteY81" fmla="*/ 358925 h 1144132"/>
                <a:gd name="connsiteX82" fmla="*/ 609379 w 1288106"/>
                <a:gd name="connsiteY82" fmla="*/ 332132 h 1144132"/>
                <a:gd name="connsiteX83" fmla="*/ 603809 w 1288106"/>
                <a:gd name="connsiteY83" fmla="*/ 324596 h 1144132"/>
                <a:gd name="connsiteX84" fmla="*/ 612442 w 1288106"/>
                <a:gd name="connsiteY84" fmla="*/ 321526 h 1144132"/>
                <a:gd name="connsiteX85" fmla="*/ 688476 w 1288106"/>
                <a:gd name="connsiteY85" fmla="*/ 313711 h 1144132"/>
                <a:gd name="connsiteX86" fmla="*/ 837478 w 1288106"/>
                <a:gd name="connsiteY86" fmla="*/ 266263 h 1144132"/>
                <a:gd name="connsiteX87" fmla="*/ 853910 w 1288106"/>
                <a:gd name="connsiteY87" fmla="*/ 236120 h 1144132"/>
                <a:gd name="connsiteX88" fmla="*/ 843048 w 1288106"/>
                <a:gd name="connsiteY88" fmla="*/ 230259 h 1144132"/>
                <a:gd name="connsiteX89" fmla="*/ 585984 w 1288106"/>
                <a:gd name="connsiteY89" fmla="*/ 270729 h 1144132"/>
                <a:gd name="connsiteX90" fmla="*/ 519699 w 1288106"/>
                <a:gd name="connsiteY90" fmla="*/ 253425 h 1144132"/>
                <a:gd name="connsiteX91" fmla="*/ 530004 w 1288106"/>
                <a:gd name="connsiteY91" fmla="*/ 347761 h 1144132"/>
                <a:gd name="connsiteX92" fmla="*/ 416929 w 1288106"/>
                <a:gd name="connsiteY92" fmla="*/ 485079 h 1144132"/>
                <a:gd name="connsiteX93" fmla="*/ 407738 w 1288106"/>
                <a:gd name="connsiteY93" fmla="*/ 485079 h 1144132"/>
                <a:gd name="connsiteX94" fmla="*/ 409409 w 1288106"/>
                <a:gd name="connsiteY94" fmla="*/ 476986 h 1144132"/>
                <a:gd name="connsiteX95" fmla="*/ 435310 w 1288106"/>
                <a:gd name="connsiteY95" fmla="*/ 420607 h 1144132"/>
                <a:gd name="connsiteX96" fmla="*/ 474302 w 1288106"/>
                <a:gd name="connsiteY96" fmla="*/ 244493 h 1144132"/>
                <a:gd name="connsiteX97" fmla="*/ 465389 w 1288106"/>
                <a:gd name="connsiteY97" fmla="*/ 228585 h 1144132"/>
                <a:gd name="connsiteX98" fmla="*/ 448957 w 1288106"/>
                <a:gd name="connsiteY98" fmla="*/ 221049 h 1144132"/>
                <a:gd name="connsiteX99" fmla="*/ 447843 w 1288106"/>
                <a:gd name="connsiteY99" fmla="*/ 238074 h 1144132"/>
                <a:gd name="connsiteX100" fmla="*/ 412473 w 1288106"/>
                <a:gd name="connsiteY100" fmla="*/ 382649 h 1144132"/>
                <a:gd name="connsiteX101" fmla="*/ 315551 w 1288106"/>
                <a:gd name="connsiteY101" fmla="*/ 512431 h 1144132"/>
                <a:gd name="connsiteX102" fmla="*/ 308867 w 1288106"/>
                <a:gd name="connsiteY102" fmla="*/ 521642 h 1144132"/>
                <a:gd name="connsiteX103" fmla="*/ 318615 w 1288106"/>
                <a:gd name="connsiteY103" fmla="*/ 525549 h 1144132"/>
                <a:gd name="connsiteX104" fmla="*/ 368190 w 1288106"/>
                <a:gd name="connsiteY104" fmla="*/ 544807 h 1144132"/>
                <a:gd name="connsiteX105" fmla="*/ 453971 w 1288106"/>
                <a:gd name="connsiteY105" fmla="*/ 726503 h 1144132"/>
                <a:gd name="connsiteX106" fmla="*/ 450071 w 1288106"/>
                <a:gd name="connsiteY106" fmla="*/ 735155 h 1144132"/>
                <a:gd name="connsiteX107" fmla="*/ 443387 w 1288106"/>
                <a:gd name="connsiteY107" fmla="*/ 729015 h 1144132"/>
                <a:gd name="connsiteX108" fmla="*/ 404674 w 1288106"/>
                <a:gd name="connsiteY108" fmla="*/ 674869 h 1144132"/>
                <a:gd name="connsiteX109" fmla="*/ 274332 w 1288106"/>
                <a:gd name="connsiteY109" fmla="*/ 556530 h 1144132"/>
                <a:gd name="connsiteX110" fmla="*/ 262077 w 1288106"/>
                <a:gd name="connsiteY110" fmla="*/ 553739 h 1144132"/>
                <a:gd name="connsiteX111" fmla="*/ 239240 w 1288106"/>
                <a:gd name="connsiteY111" fmla="*/ 568252 h 114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288106" h="1144132">
                  <a:moveTo>
                    <a:pt x="944704" y="0"/>
                  </a:moveTo>
                  <a:cubicBezTo>
                    <a:pt x="937185" y="47726"/>
                    <a:pt x="936628" y="95732"/>
                    <a:pt x="938299" y="144017"/>
                  </a:cubicBezTo>
                  <a:cubicBezTo>
                    <a:pt x="941919" y="245610"/>
                    <a:pt x="964479" y="343296"/>
                    <a:pt x="1005141" y="436516"/>
                  </a:cubicBezTo>
                  <a:cubicBezTo>
                    <a:pt x="1023244" y="478102"/>
                    <a:pt x="1044689" y="517734"/>
                    <a:pt x="1068920" y="555692"/>
                  </a:cubicBezTo>
                  <a:cubicBezTo>
                    <a:pt x="1074490" y="564344"/>
                    <a:pt x="1078946" y="566577"/>
                    <a:pt x="1089251" y="562112"/>
                  </a:cubicBezTo>
                  <a:cubicBezTo>
                    <a:pt x="1149966" y="536992"/>
                    <a:pt x="1212631" y="526666"/>
                    <a:pt x="1277802" y="541179"/>
                  </a:cubicBezTo>
                  <a:cubicBezTo>
                    <a:pt x="1280308" y="541737"/>
                    <a:pt x="1282815" y="542295"/>
                    <a:pt x="1285321" y="543133"/>
                  </a:cubicBezTo>
                  <a:cubicBezTo>
                    <a:pt x="1286436" y="543412"/>
                    <a:pt x="1286993" y="544249"/>
                    <a:pt x="1288107" y="545086"/>
                  </a:cubicBezTo>
                  <a:cubicBezTo>
                    <a:pt x="1286436" y="549831"/>
                    <a:pt x="1281979" y="550110"/>
                    <a:pt x="1278359" y="551785"/>
                  </a:cubicBezTo>
                  <a:cubicBezTo>
                    <a:pt x="1195641" y="588068"/>
                    <a:pt x="1120722" y="635795"/>
                    <a:pt x="1053602" y="696081"/>
                  </a:cubicBezTo>
                  <a:cubicBezTo>
                    <a:pt x="977568" y="764461"/>
                    <a:pt x="917410" y="844563"/>
                    <a:pt x="870621" y="935271"/>
                  </a:cubicBezTo>
                  <a:cubicBezTo>
                    <a:pt x="866165" y="943644"/>
                    <a:pt x="869228" y="947552"/>
                    <a:pt x="875912" y="952576"/>
                  </a:cubicBezTo>
                  <a:cubicBezTo>
                    <a:pt x="925209" y="989975"/>
                    <a:pt x="963364" y="1036306"/>
                    <a:pt x="985367" y="1094639"/>
                  </a:cubicBezTo>
                  <a:cubicBezTo>
                    <a:pt x="988152" y="1101895"/>
                    <a:pt x="991772" y="1109431"/>
                    <a:pt x="991494" y="1119479"/>
                  </a:cubicBezTo>
                  <a:cubicBezTo>
                    <a:pt x="982025" y="1112780"/>
                    <a:pt x="973669" y="1106640"/>
                    <a:pt x="965314" y="1100779"/>
                  </a:cubicBezTo>
                  <a:cubicBezTo>
                    <a:pt x="851682" y="1020676"/>
                    <a:pt x="725796" y="971275"/>
                    <a:pt x="587655" y="955367"/>
                  </a:cubicBezTo>
                  <a:cubicBezTo>
                    <a:pt x="540587" y="949784"/>
                    <a:pt x="493519" y="947273"/>
                    <a:pt x="446172" y="950901"/>
                  </a:cubicBezTo>
                  <a:cubicBezTo>
                    <a:pt x="436424" y="951738"/>
                    <a:pt x="433918" y="955646"/>
                    <a:pt x="432804" y="964298"/>
                  </a:cubicBezTo>
                  <a:cubicBezTo>
                    <a:pt x="424727" y="1027375"/>
                    <a:pt x="403003" y="1084591"/>
                    <a:pt x="361227" y="1133434"/>
                  </a:cubicBezTo>
                  <a:cubicBezTo>
                    <a:pt x="357606" y="1137620"/>
                    <a:pt x="353986" y="1145993"/>
                    <a:pt x="348415" y="1143760"/>
                  </a:cubicBezTo>
                  <a:cubicBezTo>
                    <a:pt x="343124" y="1141807"/>
                    <a:pt x="347580" y="1133713"/>
                    <a:pt x="348137" y="1128689"/>
                  </a:cubicBezTo>
                  <a:cubicBezTo>
                    <a:pt x="352036" y="1091568"/>
                    <a:pt x="353429" y="1054169"/>
                    <a:pt x="352315" y="1016769"/>
                  </a:cubicBezTo>
                  <a:cubicBezTo>
                    <a:pt x="349529" y="910431"/>
                    <a:pt x="327527" y="808559"/>
                    <a:pt x="284915" y="711152"/>
                  </a:cubicBezTo>
                  <a:cubicBezTo>
                    <a:pt x="266534" y="669008"/>
                    <a:pt x="244531" y="628817"/>
                    <a:pt x="220023" y="590022"/>
                  </a:cubicBezTo>
                  <a:cubicBezTo>
                    <a:pt x="215288" y="582486"/>
                    <a:pt x="211110" y="580253"/>
                    <a:pt x="202198" y="584161"/>
                  </a:cubicBezTo>
                  <a:cubicBezTo>
                    <a:pt x="154016" y="605093"/>
                    <a:pt x="103606" y="614583"/>
                    <a:pt x="50967" y="611513"/>
                  </a:cubicBezTo>
                  <a:cubicBezTo>
                    <a:pt x="33700" y="610396"/>
                    <a:pt x="16432" y="608164"/>
                    <a:pt x="0" y="602302"/>
                  </a:cubicBezTo>
                  <a:lnTo>
                    <a:pt x="0" y="600070"/>
                  </a:lnTo>
                  <a:cubicBezTo>
                    <a:pt x="96086" y="560995"/>
                    <a:pt x="181031" y="505175"/>
                    <a:pt x="255672" y="433446"/>
                  </a:cubicBezTo>
                  <a:cubicBezTo>
                    <a:pt x="321957" y="370089"/>
                    <a:pt x="375709" y="296965"/>
                    <a:pt x="417764" y="215467"/>
                  </a:cubicBezTo>
                  <a:cubicBezTo>
                    <a:pt x="422777" y="205419"/>
                    <a:pt x="422220" y="200674"/>
                    <a:pt x="413308" y="193697"/>
                  </a:cubicBezTo>
                  <a:cubicBezTo>
                    <a:pt x="362898" y="154623"/>
                    <a:pt x="323350" y="107175"/>
                    <a:pt x="302740" y="45773"/>
                  </a:cubicBezTo>
                  <a:cubicBezTo>
                    <a:pt x="301069" y="40470"/>
                    <a:pt x="298284" y="35167"/>
                    <a:pt x="299398" y="29027"/>
                  </a:cubicBezTo>
                  <a:cubicBezTo>
                    <a:pt x="304968" y="29864"/>
                    <a:pt x="308032" y="33492"/>
                    <a:pt x="311374" y="36004"/>
                  </a:cubicBezTo>
                  <a:cubicBezTo>
                    <a:pt x="469010" y="151552"/>
                    <a:pt x="645585" y="204582"/>
                    <a:pt x="840542" y="197604"/>
                  </a:cubicBezTo>
                  <a:cubicBezTo>
                    <a:pt x="850847" y="197325"/>
                    <a:pt x="856417" y="194255"/>
                    <a:pt x="858088" y="182812"/>
                  </a:cubicBezTo>
                  <a:cubicBezTo>
                    <a:pt x="867279" y="113595"/>
                    <a:pt x="892902" y="51634"/>
                    <a:pt x="941084" y="0"/>
                  </a:cubicBezTo>
                  <a:lnTo>
                    <a:pt x="945540" y="0"/>
                  </a:lnTo>
                  <a:close/>
                  <a:moveTo>
                    <a:pt x="238961" y="567415"/>
                  </a:moveTo>
                  <a:cubicBezTo>
                    <a:pt x="241468" y="569089"/>
                    <a:pt x="243417" y="570206"/>
                    <a:pt x="245367" y="571322"/>
                  </a:cubicBezTo>
                  <a:cubicBezTo>
                    <a:pt x="286586" y="592534"/>
                    <a:pt x="320007" y="623235"/>
                    <a:pt x="348415" y="658960"/>
                  </a:cubicBezTo>
                  <a:cubicBezTo>
                    <a:pt x="388242" y="709198"/>
                    <a:pt x="413587" y="766135"/>
                    <a:pt x="427234" y="828654"/>
                  </a:cubicBezTo>
                  <a:cubicBezTo>
                    <a:pt x="428069" y="832003"/>
                    <a:pt x="427234" y="837306"/>
                    <a:pt x="430854" y="838423"/>
                  </a:cubicBezTo>
                  <a:cubicBezTo>
                    <a:pt x="435310" y="839818"/>
                    <a:pt x="437538" y="834515"/>
                    <a:pt x="440045" y="831724"/>
                  </a:cubicBezTo>
                  <a:cubicBezTo>
                    <a:pt x="451742" y="819723"/>
                    <a:pt x="464275" y="809117"/>
                    <a:pt x="478479" y="800186"/>
                  </a:cubicBezTo>
                  <a:cubicBezTo>
                    <a:pt x="542258" y="759437"/>
                    <a:pt x="623304" y="764740"/>
                    <a:pt x="679842" y="813304"/>
                  </a:cubicBezTo>
                  <a:cubicBezTo>
                    <a:pt x="682627" y="815815"/>
                    <a:pt x="688197" y="818048"/>
                    <a:pt x="686526" y="822514"/>
                  </a:cubicBezTo>
                  <a:cubicBezTo>
                    <a:pt x="685133" y="826421"/>
                    <a:pt x="679563" y="825584"/>
                    <a:pt x="675664" y="826142"/>
                  </a:cubicBezTo>
                  <a:cubicBezTo>
                    <a:pt x="651712" y="828375"/>
                    <a:pt x="627760" y="830329"/>
                    <a:pt x="604087" y="833120"/>
                  </a:cubicBezTo>
                  <a:cubicBezTo>
                    <a:pt x="548942" y="840097"/>
                    <a:pt x="496304" y="854890"/>
                    <a:pt x="447843" y="883637"/>
                  </a:cubicBezTo>
                  <a:cubicBezTo>
                    <a:pt x="437817" y="889498"/>
                    <a:pt x="433082" y="896197"/>
                    <a:pt x="434753" y="907640"/>
                  </a:cubicBezTo>
                  <a:cubicBezTo>
                    <a:pt x="435310" y="911548"/>
                    <a:pt x="433639" y="916571"/>
                    <a:pt x="437538" y="919083"/>
                  </a:cubicBezTo>
                  <a:cubicBezTo>
                    <a:pt x="441716" y="922153"/>
                    <a:pt x="445058" y="917409"/>
                    <a:pt x="448122" y="915455"/>
                  </a:cubicBezTo>
                  <a:cubicBezTo>
                    <a:pt x="505495" y="881684"/>
                    <a:pt x="568438" y="868287"/>
                    <a:pt x="634166" y="869124"/>
                  </a:cubicBezTo>
                  <a:cubicBezTo>
                    <a:pt x="676500" y="869682"/>
                    <a:pt x="717998" y="877218"/>
                    <a:pt x="758381" y="890336"/>
                  </a:cubicBezTo>
                  <a:cubicBezTo>
                    <a:pt x="761167" y="891173"/>
                    <a:pt x="764230" y="893406"/>
                    <a:pt x="766737" y="891173"/>
                  </a:cubicBezTo>
                  <a:cubicBezTo>
                    <a:pt x="769800" y="888382"/>
                    <a:pt x="767572" y="884754"/>
                    <a:pt x="766737" y="881963"/>
                  </a:cubicBezTo>
                  <a:cubicBezTo>
                    <a:pt x="758381" y="853494"/>
                    <a:pt x="755596" y="824468"/>
                    <a:pt x="760888" y="795162"/>
                  </a:cubicBezTo>
                  <a:cubicBezTo>
                    <a:pt x="773142" y="729294"/>
                    <a:pt x="810463" y="684079"/>
                    <a:pt x="874241" y="662030"/>
                  </a:cubicBezTo>
                  <a:cubicBezTo>
                    <a:pt x="876748" y="661193"/>
                    <a:pt x="880090" y="658681"/>
                    <a:pt x="882318" y="661751"/>
                  </a:cubicBezTo>
                  <a:cubicBezTo>
                    <a:pt x="883989" y="663984"/>
                    <a:pt x="881761" y="666775"/>
                    <a:pt x="880926" y="669008"/>
                  </a:cubicBezTo>
                  <a:cubicBezTo>
                    <a:pt x="874241" y="683800"/>
                    <a:pt x="867279" y="698593"/>
                    <a:pt x="860594" y="713385"/>
                  </a:cubicBezTo>
                  <a:cubicBezTo>
                    <a:pt x="834693" y="771438"/>
                    <a:pt x="814083" y="830887"/>
                    <a:pt x="815754" y="896197"/>
                  </a:cubicBezTo>
                  <a:cubicBezTo>
                    <a:pt x="816033" y="910710"/>
                    <a:pt x="820489" y="918525"/>
                    <a:pt x="833301" y="924107"/>
                  </a:cubicBezTo>
                  <a:cubicBezTo>
                    <a:pt x="840820" y="927456"/>
                    <a:pt x="843327" y="926619"/>
                    <a:pt x="843048" y="918525"/>
                  </a:cubicBezTo>
                  <a:cubicBezTo>
                    <a:pt x="842213" y="902058"/>
                    <a:pt x="843884" y="885870"/>
                    <a:pt x="846112" y="869961"/>
                  </a:cubicBezTo>
                  <a:cubicBezTo>
                    <a:pt x="860316" y="776462"/>
                    <a:pt x="905156" y="699709"/>
                    <a:pt x="973948" y="636074"/>
                  </a:cubicBezTo>
                  <a:cubicBezTo>
                    <a:pt x="977011" y="633283"/>
                    <a:pt x="982860" y="630771"/>
                    <a:pt x="981468" y="626305"/>
                  </a:cubicBezTo>
                  <a:cubicBezTo>
                    <a:pt x="980354" y="622677"/>
                    <a:pt x="974505" y="623235"/>
                    <a:pt x="970606" y="622119"/>
                  </a:cubicBezTo>
                  <a:cubicBezTo>
                    <a:pt x="924095" y="609559"/>
                    <a:pt x="885103" y="585556"/>
                    <a:pt x="858923" y="543970"/>
                  </a:cubicBezTo>
                  <a:cubicBezTo>
                    <a:pt x="834972" y="506012"/>
                    <a:pt x="826338" y="464984"/>
                    <a:pt x="836086" y="420607"/>
                  </a:cubicBezTo>
                  <a:cubicBezTo>
                    <a:pt x="836643" y="417537"/>
                    <a:pt x="836643" y="412792"/>
                    <a:pt x="839706" y="411955"/>
                  </a:cubicBezTo>
                  <a:cubicBezTo>
                    <a:pt x="844162" y="410838"/>
                    <a:pt x="845276" y="416141"/>
                    <a:pt x="847226" y="418932"/>
                  </a:cubicBezTo>
                  <a:cubicBezTo>
                    <a:pt x="857252" y="433166"/>
                    <a:pt x="867279" y="447401"/>
                    <a:pt x="877305" y="461635"/>
                  </a:cubicBezTo>
                  <a:cubicBezTo>
                    <a:pt x="912119" y="510478"/>
                    <a:pt x="952503" y="553739"/>
                    <a:pt x="1004584" y="584998"/>
                  </a:cubicBezTo>
                  <a:cubicBezTo>
                    <a:pt x="1017674" y="592813"/>
                    <a:pt x="1028536" y="597558"/>
                    <a:pt x="1042461" y="586114"/>
                  </a:cubicBezTo>
                  <a:cubicBezTo>
                    <a:pt x="1049145" y="580532"/>
                    <a:pt x="1051652" y="579137"/>
                    <a:pt x="1042461" y="574113"/>
                  </a:cubicBezTo>
                  <a:cubicBezTo>
                    <a:pt x="1017952" y="560995"/>
                    <a:pt x="995672" y="544528"/>
                    <a:pt x="975619" y="524991"/>
                  </a:cubicBezTo>
                  <a:cubicBezTo>
                    <a:pt x="916853" y="467217"/>
                    <a:pt x="880647" y="397441"/>
                    <a:pt x="862823" y="317339"/>
                  </a:cubicBezTo>
                  <a:cubicBezTo>
                    <a:pt x="861987" y="313990"/>
                    <a:pt x="862823" y="308687"/>
                    <a:pt x="858923" y="307850"/>
                  </a:cubicBezTo>
                  <a:cubicBezTo>
                    <a:pt x="855024" y="307012"/>
                    <a:pt x="853075" y="311757"/>
                    <a:pt x="850568" y="314269"/>
                  </a:cubicBezTo>
                  <a:cubicBezTo>
                    <a:pt x="832744" y="333527"/>
                    <a:pt x="811577" y="348040"/>
                    <a:pt x="787625" y="358925"/>
                  </a:cubicBezTo>
                  <a:cubicBezTo>
                    <a:pt x="729138" y="385719"/>
                    <a:pt x="652826" y="374555"/>
                    <a:pt x="609379" y="332132"/>
                  </a:cubicBezTo>
                  <a:cubicBezTo>
                    <a:pt x="607151" y="329899"/>
                    <a:pt x="602973" y="327945"/>
                    <a:pt x="603809" y="324596"/>
                  </a:cubicBezTo>
                  <a:cubicBezTo>
                    <a:pt x="604923" y="320967"/>
                    <a:pt x="609657" y="321805"/>
                    <a:pt x="612442" y="321526"/>
                  </a:cubicBezTo>
                  <a:cubicBezTo>
                    <a:pt x="637787" y="318735"/>
                    <a:pt x="663131" y="316781"/>
                    <a:pt x="688476" y="313711"/>
                  </a:cubicBezTo>
                  <a:cubicBezTo>
                    <a:pt x="741114" y="307291"/>
                    <a:pt x="790967" y="292220"/>
                    <a:pt x="837478" y="266263"/>
                  </a:cubicBezTo>
                  <a:cubicBezTo>
                    <a:pt x="850290" y="259007"/>
                    <a:pt x="855303" y="250634"/>
                    <a:pt x="853910" y="236120"/>
                  </a:cubicBezTo>
                  <a:cubicBezTo>
                    <a:pt x="853075" y="226631"/>
                    <a:pt x="851125" y="225235"/>
                    <a:pt x="843048" y="230259"/>
                  </a:cubicBezTo>
                  <a:cubicBezTo>
                    <a:pt x="762559" y="277148"/>
                    <a:pt x="676221" y="286917"/>
                    <a:pt x="585984" y="270729"/>
                  </a:cubicBezTo>
                  <a:cubicBezTo>
                    <a:pt x="563982" y="266822"/>
                    <a:pt x="542258" y="260681"/>
                    <a:pt x="519699" y="253425"/>
                  </a:cubicBezTo>
                  <a:cubicBezTo>
                    <a:pt x="529447" y="285242"/>
                    <a:pt x="533624" y="315944"/>
                    <a:pt x="530004" y="347761"/>
                  </a:cubicBezTo>
                  <a:cubicBezTo>
                    <a:pt x="523041" y="408885"/>
                    <a:pt x="474859" y="468333"/>
                    <a:pt x="416929" y="485079"/>
                  </a:cubicBezTo>
                  <a:cubicBezTo>
                    <a:pt x="413865" y="485917"/>
                    <a:pt x="410245" y="488429"/>
                    <a:pt x="407738" y="485079"/>
                  </a:cubicBezTo>
                  <a:cubicBezTo>
                    <a:pt x="405788" y="482568"/>
                    <a:pt x="408295" y="479497"/>
                    <a:pt x="409409" y="476986"/>
                  </a:cubicBezTo>
                  <a:cubicBezTo>
                    <a:pt x="418043" y="458286"/>
                    <a:pt x="426955" y="439586"/>
                    <a:pt x="435310" y="420607"/>
                  </a:cubicBezTo>
                  <a:cubicBezTo>
                    <a:pt x="460098" y="364507"/>
                    <a:pt x="476530" y="306454"/>
                    <a:pt x="474302" y="244493"/>
                  </a:cubicBezTo>
                  <a:cubicBezTo>
                    <a:pt x="474302" y="237237"/>
                    <a:pt x="472909" y="231376"/>
                    <a:pt x="465389" y="228585"/>
                  </a:cubicBezTo>
                  <a:cubicBezTo>
                    <a:pt x="459541" y="226352"/>
                    <a:pt x="453971" y="218816"/>
                    <a:pt x="448957" y="221049"/>
                  </a:cubicBezTo>
                  <a:cubicBezTo>
                    <a:pt x="442273" y="224119"/>
                    <a:pt x="448122" y="232213"/>
                    <a:pt x="447843" y="238074"/>
                  </a:cubicBezTo>
                  <a:cubicBezTo>
                    <a:pt x="445615" y="288592"/>
                    <a:pt x="434196" y="336876"/>
                    <a:pt x="412473" y="382649"/>
                  </a:cubicBezTo>
                  <a:cubicBezTo>
                    <a:pt x="388799" y="432329"/>
                    <a:pt x="356214" y="475311"/>
                    <a:pt x="315551" y="512431"/>
                  </a:cubicBezTo>
                  <a:cubicBezTo>
                    <a:pt x="312766" y="514943"/>
                    <a:pt x="307475" y="517176"/>
                    <a:pt x="308867" y="521642"/>
                  </a:cubicBezTo>
                  <a:cubicBezTo>
                    <a:pt x="309981" y="525549"/>
                    <a:pt x="315273" y="524712"/>
                    <a:pt x="318615" y="525549"/>
                  </a:cubicBezTo>
                  <a:cubicBezTo>
                    <a:pt x="335882" y="529736"/>
                    <a:pt x="352315" y="536434"/>
                    <a:pt x="368190" y="544807"/>
                  </a:cubicBezTo>
                  <a:cubicBezTo>
                    <a:pt x="433082" y="579695"/>
                    <a:pt x="469567" y="656727"/>
                    <a:pt x="453971" y="726503"/>
                  </a:cubicBezTo>
                  <a:cubicBezTo>
                    <a:pt x="453413" y="729573"/>
                    <a:pt x="453971" y="734318"/>
                    <a:pt x="450071" y="735155"/>
                  </a:cubicBezTo>
                  <a:cubicBezTo>
                    <a:pt x="446172" y="736271"/>
                    <a:pt x="445058" y="731527"/>
                    <a:pt x="443387" y="729015"/>
                  </a:cubicBezTo>
                  <a:cubicBezTo>
                    <a:pt x="430576" y="710873"/>
                    <a:pt x="418043" y="692452"/>
                    <a:pt x="404674" y="674869"/>
                  </a:cubicBezTo>
                  <a:cubicBezTo>
                    <a:pt x="369025" y="626863"/>
                    <a:pt x="327527" y="584998"/>
                    <a:pt x="274332" y="556530"/>
                  </a:cubicBezTo>
                  <a:cubicBezTo>
                    <a:pt x="270433" y="554576"/>
                    <a:pt x="266812" y="550948"/>
                    <a:pt x="262077" y="553739"/>
                  </a:cubicBezTo>
                  <a:cubicBezTo>
                    <a:pt x="254558" y="557925"/>
                    <a:pt x="246481" y="561833"/>
                    <a:pt x="239240" y="568252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" name="Freeform 51">
              <a:extLst>
                <a:ext uri="{FF2B5EF4-FFF2-40B4-BE49-F238E27FC236}">
                  <a16:creationId xmlns:a16="http://schemas.microsoft.com/office/drawing/2014/main" id="{084CD9D7-5239-D9C1-B796-BAFD8DDE82AD}"/>
                </a:ext>
              </a:extLst>
            </p:cNvPr>
            <p:cNvSpPr/>
            <p:nvPr/>
          </p:nvSpPr>
          <p:spPr>
            <a:xfrm>
              <a:off x="4777641" y="1394664"/>
              <a:ext cx="104972" cy="99079"/>
            </a:xfrm>
            <a:custGeom>
              <a:avLst/>
              <a:gdLst>
                <a:gd name="connsiteX0" fmla="*/ 430852 w 883881"/>
                <a:gd name="connsiteY0" fmla="*/ 284 h 824859"/>
                <a:gd name="connsiteX1" fmla="*/ 681511 w 883881"/>
                <a:gd name="connsiteY1" fmla="*/ 53592 h 824859"/>
                <a:gd name="connsiteX2" fmla="*/ 878417 w 883881"/>
                <a:gd name="connsiteY2" fmla="*/ 338834 h 824859"/>
                <a:gd name="connsiteX3" fmla="*/ 856972 w 883881"/>
                <a:gd name="connsiteY3" fmla="*/ 567419 h 824859"/>
                <a:gd name="connsiteX4" fmla="*/ 626644 w 883881"/>
                <a:gd name="connsiteY4" fmla="*/ 793213 h 824859"/>
                <a:gd name="connsiteX5" fmla="*/ 242023 w 883881"/>
                <a:gd name="connsiteY5" fmla="*/ 787352 h 824859"/>
                <a:gd name="connsiteX6" fmla="*/ 8353 w 883881"/>
                <a:gd name="connsiteY6" fmla="*/ 495690 h 824859"/>
                <a:gd name="connsiteX7" fmla="*/ 29520 w 883881"/>
                <a:gd name="connsiteY7" fmla="*/ 246731 h 824859"/>
                <a:gd name="connsiteX8" fmla="*/ 219463 w 883881"/>
                <a:gd name="connsiteY8" fmla="*/ 45219 h 824859"/>
                <a:gd name="connsiteX9" fmla="*/ 430852 w 883881"/>
                <a:gd name="connsiteY9" fmla="*/ 5 h 824859"/>
                <a:gd name="connsiteX10" fmla="*/ 438093 w 883881"/>
                <a:gd name="connsiteY10" fmla="*/ 169978 h 824859"/>
                <a:gd name="connsiteX11" fmla="*/ 383784 w 883881"/>
                <a:gd name="connsiteY11" fmla="*/ 175002 h 824859"/>
                <a:gd name="connsiteX12" fmla="*/ 203588 w 883881"/>
                <a:gd name="connsiteY12" fmla="*/ 328787 h 824859"/>
                <a:gd name="connsiteX13" fmla="*/ 197740 w 883881"/>
                <a:gd name="connsiteY13" fmla="*/ 473362 h 824859"/>
                <a:gd name="connsiteX14" fmla="*/ 346742 w 883881"/>
                <a:gd name="connsiteY14" fmla="*/ 640544 h 824859"/>
                <a:gd name="connsiteX15" fmla="*/ 501315 w 883881"/>
                <a:gd name="connsiteY15" fmla="*/ 648917 h 824859"/>
                <a:gd name="connsiteX16" fmla="*/ 677055 w 883881"/>
                <a:gd name="connsiteY16" fmla="*/ 503505 h 824859"/>
                <a:gd name="connsiteX17" fmla="*/ 683739 w 883881"/>
                <a:gd name="connsiteY17" fmla="*/ 342742 h 824859"/>
                <a:gd name="connsiteX18" fmla="*/ 565372 w 883881"/>
                <a:gd name="connsiteY18" fmla="*/ 195655 h 824859"/>
                <a:gd name="connsiteX19" fmla="*/ 437815 w 883881"/>
                <a:gd name="connsiteY19" fmla="*/ 169978 h 824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83881" h="824859">
                  <a:moveTo>
                    <a:pt x="430852" y="284"/>
                  </a:moveTo>
                  <a:cubicBezTo>
                    <a:pt x="526381" y="284"/>
                    <a:pt x="607149" y="14239"/>
                    <a:pt x="681511" y="53592"/>
                  </a:cubicBezTo>
                  <a:cubicBezTo>
                    <a:pt x="795978" y="114436"/>
                    <a:pt x="860035" y="211285"/>
                    <a:pt x="878417" y="338834"/>
                  </a:cubicBezTo>
                  <a:cubicBezTo>
                    <a:pt x="889558" y="416425"/>
                    <a:pt x="884266" y="493178"/>
                    <a:pt x="856972" y="567419"/>
                  </a:cubicBezTo>
                  <a:cubicBezTo>
                    <a:pt x="816031" y="679060"/>
                    <a:pt x="738605" y="755534"/>
                    <a:pt x="626644" y="793213"/>
                  </a:cubicBezTo>
                  <a:cubicBezTo>
                    <a:pt x="498530" y="836474"/>
                    <a:pt x="368744" y="836195"/>
                    <a:pt x="242023" y="787352"/>
                  </a:cubicBezTo>
                  <a:cubicBezTo>
                    <a:pt x="109174" y="735997"/>
                    <a:pt x="33697" y="634683"/>
                    <a:pt x="8353" y="495690"/>
                  </a:cubicBezTo>
                  <a:cubicBezTo>
                    <a:pt x="-6965" y="411122"/>
                    <a:pt x="-1952" y="327391"/>
                    <a:pt x="29520" y="246731"/>
                  </a:cubicBezTo>
                  <a:cubicBezTo>
                    <a:pt x="65447" y="153790"/>
                    <a:pt x="129784" y="87363"/>
                    <a:pt x="219463" y="45219"/>
                  </a:cubicBezTo>
                  <a:cubicBezTo>
                    <a:pt x="290205" y="12285"/>
                    <a:pt x="365124" y="-275"/>
                    <a:pt x="430852" y="5"/>
                  </a:cubicBezTo>
                  <a:close/>
                  <a:moveTo>
                    <a:pt x="438093" y="169978"/>
                  </a:moveTo>
                  <a:cubicBezTo>
                    <a:pt x="423332" y="169140"/>
                    <a:pt x="403280" y="171094"/>
                    <a:pt x="383784" y="175002"/>
                  </a:cubicBezTo>
                  <a:cubicBezTo>
                    <a:pt x="295218" y="192585"/>
                    <a:pt x="232553" y="241149"/>
                    <a:pt x="203588" y="328787"/>
                  </a:cubicBezTo>
                  <a:cubicBezTo>
                    <a:pt x="187992" y="376234"/>
                    <a:pt x="187435" y="424798"/>
                    <a:pt x="197740" y="473362"/>
                  </a:cubicBezTo>
                  <a:cubicBezTo>
                    <a:pt x="215564" y="557371"/>
                    <a:pt x="263747" y="614867"/>
                    <a:pt x="346742" y="640544"/>
                  </a:cubicBezTo>
                  <a:cubicBezTo>
                    <a:pt x="397431" y="656174"/>
                    <a:pt x="449234" y="657848"/>
                    <a:pt x="501315" y="648917"/>
                  </a:cubicBezTo>
                  <a:cubicBezTo>
                    <a:pt x="587375" y="634125"/>
                    <a:pt x="648368" y="587794"/>
                    <a:pt x="677055" y="503505"/>
                  </a:cubicBezTo>
                  <a:cubicBezTo>
                    <a:pt x="694879" y="450754"/>
                    <a:pt x="696829" y="396609"/>
                    <a:pt x="683739" y="342742"/>
                  </a:cubicBezTo>
                  <a:cubicBezTo>
                    <a:pt x="667307" y="275757"/>
                    <a:pt x="627758" y="226077"/>
                    <a:pt x="565372" y="195655"/>
                  </a:cubicBezTo>
                  <a:cubicBezTo>
                    <a:pt x="526660" y="176955"/>
                    <a:pt x="485440" y="169699"/>
                    <a:pt x="437815" y="169978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Freeform 52">
              <a:extLst>
                <a:ext uri="{FF2B5EF4-FFF2-40B4-BE49-F238E27FC236}">
                  <a16:creationId xmlns:a16="http://schemas.microsoft.com/office/drawing/2014/main" id="{895D1D22-8EBE-10C2-699C-18BDD1060453}"/>
                </a:ext>
              </a:extLst>
            </p:cNvPr>
            <p:cNvSpPr/>
            <p:nvPr/>
          </p:nvSpPr>
          <p:spPr>
            <a:xfrm>
              <a:off x="4587055" y="1396338"/>
              <a:ext cx="89403" cy="96001"/>
            </a:xfrm>
            <a:custGeom>
              <a:avLst/>
              <a:gdLst>
                <a:gd name="connsiteX0" fmla="*/ 0 w 752791"/>
                <a:gd name="connsiteY0" fmla="*/ 395510 h 799233"/>
                <a:gd name="connsiteX1" fmla="*/ 0 w 752791"/>
                <a:gd name="connsiteY1" fmla="*/ 16768 h 799233"/>
                <a:gd name="connsiteX2" fmla="*/ 16711 w 752791"/>
                <a:gd name="connsiteY2" fmla="*/ 301 h 799233"/>
                <a:gd name="connsiteX3" fmla="*/ 338389 w 752791"/>
                <a:gd name="connsiteY3" fmla="*/ 581 h 799233"/>
                <a:gd name="connsiteX4" fmla="*/ 516635 w 752791"/>
                <a:gd name="connsiteY4" fmla="*/ 34910 h 799233"/>
                <a:gd name="connsiteX5" fmla="*/ 648370 w 752791"/>
                <a:gd name="connsiteY5" fmla="*/ 212140 h 799233"/>
                <a:gd name="connsiteX6" fmla="*/ 645585 w 752791"/>
                <a:gd name="connsiteY6" fmla="*/ 339969 h 799233"/>
                <a:gd name="connsiteX7" fmla="*/ 529447 w 752791"/>
                <a:gd name="connsiteY7" fmla="*/ 492358 h 799233"/>
                <a:gd name="connsiteX8" fmla="*/ 524434 w 752791"/>
                <a:gd name="connsiteY8" fmla="*/ 508267 h 799233"/>
                <a:gd name="connsiteX9" fmla="*/ 577907 w 752791"/>
                <a:gd name="connsiteY9" fmla="*/ 610419 h 799233"/>
                <a:gd name="connsiteX10" fmla="*/ 657561 w 752791"/>
                <a:gd name="connsiteY10" fmla="*/ 649772 h 799233"/>
                <a:gd name="connsiteX11" fmla="*/ 692932 w 752791"/>
                <a:gd name="connsiteY11" fmla="*/ 640562 h 799233"/>
                <a:gd name="connsiteX12" fmla="*/ 709642 w 752791"/>
                <a:gd name="connsiteY12" fmla="*/ 647539 h 799233"/>
                <a:gd name="connsiteX13" fmla="*/ 751140 w 752791"/>
                <a:gd name="connsiteY13" fmla="*/ 746900 h 799233"/>
                <a:gd name="connsiteX14" fmla="*/ 745570 w 752791"/>
                <a:gd name="connsiteY14" fmla="*/ 762808 h 799233"/>
                <a:gd name="connsiteX15" fmla="*/ 651712 w 752791"/>
                <a:gd name="connsiteY15" fmla="*/ 794905 h 799233"/>
                <a:gd name="connsiteX16" fmla="*/ 539194 w 752791"/>
                <a:gd name="connsiteY16" fmla="*/ 794347 h 799233"/>
                <a:gd name="connsiteX17" fmla="*/ 423056 w 752791"/>
                <a:gd name="connsiteY17" fmla="*/ 716198 h 799233"/>
                <a:gd name="connsiteX18" fmla="*/ 352593 w 752791"/>
                <a:gd name="connsiteY18" fmla="*/ 581671 h 799233"/>
                <a:gd name="connsiteX19" fmla="*/ 334768 w 752791"/>
                <a:gd name="connsiteY19" fmla="*/ 544830 h 799233"/>
                <a:gd name="connsiteX20" fmla="*/ 321957 w 752791"/>
                <a:gd name="connsiteY20" fmla="*/ 536736 h 799233"/>
                <a:gd name="connsiteX21" fmla="*/ 199970 w 752791"/>
                <a:gd name="connsiteY21" fmla="*/ 536736 h 799233"/>
                <a:gd name="connsiteX22" fmla="*/ 189387 w 752791"/>
                <a:gd name="connsiteY22" fmla="*/ 549016 h 799233"/>
                <a:gd name="connsiteX23" fmla="*/ 189387 w 752791"/>
                <a:gd name="connsiteY23" fmla="*/ 775647 h 799233"/>
                <a:gd name="connsiteX24" fmla="*/ 173233 w 752791"/>
                <a:gd name="connsiteY24" fmla="*/ 792393 h 799233"/>
                <a:gd name="connsiteX25" fmla="*/ 17825 w 752791"/>
                <a:gd name="connsiteY25" fmla="*/ 792393 h 799233"/>
                <a:gd name="connsiteX26" fmla="*/ 0 w 752791"/>
                <a:gd name="connsiteY26" fmla="*/ 774810 h 799233"/>
                <a:gd name="connsiteX27" fmla="*/ 0 w 752791"/>
                <a:gd name="connsiteY27" fmla="*/ 396068 h 799233"/>
                <a:gd name="connsiteX28" fmla="*/ 189387 w 752791"/>
                <a:gd name="connsiteY28" fmla="*/ 272705 h 799233"/>
                <a:gd name="connsiteX29" fmla="*/ 189387 w 752791"/>
                <a:gd name="connsiteY29" fmla="*/ 364809 h 799233"/>
                <a:gd name="connsiteX30" fmla="*/ 202755 w 752791"/>
                <a:gd name="connsiteY30" fmla="*/ 377927 h 799233"/>
                <a:gd name="connsiteX31" fmla="*/ 324742 w 752791"/>
                <a:gd name="connsiteY31" fmla="*/ 377648 h 799233"/>
                <a:gd name="connsiteX32" fmla="*/ 384065 w 752791"/>
                <a:gd name="connsiteY32" fmla="*/ 370670 h 799233"/>
                <a:gd name="connsiteX33" fmla="*/ 461212 w 752791"/>
                <a:gd name="connsiteY33" fmla="*/ 303964 h 799233"/>
                <a:gd name="connsiteX34" fmla="*/ 462883 w 752791"/>
                <a:gd name="connsiteY34" fmla="*/ 240329 h 799233"/>
                <a:gd name="connsiteX35" fmla="*/ 407738 w 752791"/>
                <a:gd name="connsiteY35" fmla="*/ 177531 h 799233"/>
                <a:gd name="connsiteX36" fmla="*/ 347858 w 752791"/>
                <a:gd name="connsiteY36" fmla="*/ 168042 h 799233"/>
                <a:gd name="connsiteX37" fmla="*/ 201641 w 752791"/>
                <a:gd name="connsiteY37" fmla="*/ 167484 h 799233"/>
                <a:gd name="connsiteX38" fmla="*/ 189387 w 752791"/>
                <a:gd name="connsiteY38" fmla="*/ 179485 h 799233"/>
                <a:gd name="connsiteX39" fmla="*/ 189387 w 752791"/>
                <a:gd name="connsiteY39" fmla="*/ 272705 h 7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52791" h="799233">
                  <a:moveTo>
                    <a:pt x="0" y="395510"/>
                  </a:moveTo>
                  <a:cubicBezTo>
                    <a:pt x="0" y="269356"/>
                    <a:pt x="0" y="143202"/>
                    <a:pt x="0" y="16768"/>
                  </a:cubicBezTo>
                  <a:cubicBezTo>
                    <a:pt x="0" y="301"/>
                    <a:pt x="0" y="301"/>
                    <a:pt x="16711" y="301"/>
                  </a:cubicBezTo>
                  <a:cubicBezTo>
                    <a:pt x="123937" y="301"/>
                    <a:pt x="231163" y="-536"/>
                    <a:pt x="338389" y="581"/>
                  </a:cubicBezTo>
                  <a:cubicBezTo>
                    <a:pt x="399661" y="1139"/>
                    <a:pt x="460098" y="8674"/>
                    <a:pt x="516635" y="34910"/>
                  </a:cubicBezTo>
                  <a:cubicBezTo>
                    <a:pt x="592668" y="70077"/>
                    <a:pt x="635280" y="130084"/>
                    <a:pt x="648370" y="212140"/>
                  </a:cubicBezTo>
                  <a:cubicBezTo>
                    <a:pt x="655054" y="254843"/>
                    <a:pt x="654497" y="297545"/>
                    <a:pt x="645585" y="339969"/>
                  </a:cubicBezTo>
                  <a:cubicBezTo>
                    <a:pt x="631102" y="409186"/>
                    <a:pt x="592668" y="460262"/>
                    <a:pt x="529447" y="492358"/>
                  </a:cubicBezTo>
                  <a:cubicBezTo>
                    <a:pt x="521091" y="496545"/>
                    <a:pt x="519977" y="500173"/>
                    <a:pt x="524434" y="508267"/>
                  </a:cubicBezTo>
                  <a:cubicBezTo>
                    <a:pt x="542537" y="542318"/>
                    <a:pt x="560083" y="576368"/>
                    <a:pt x="577907" y="610419"/>
                  </a:cubicBezTo>
                  <a:cubicBezTo>
                    <a:pt x="595453" y="644190"/>
                    <a:pt x="620241" y="656191"/>
                    <a:pt x="657561" y="649772"/>
                  </a:cubicBezTo>
                  <a:cubicBezTo>
                    <a:pt x="669537" y="647818"/>
                    <a:pt x="681513" y="645306"/>
                    <a:pt x="692932" y="640562"/>
                  </a:cubicBezTo>
                  <a:cubicBezTo>
                    <a:pt x="701566" y="636654"/>
                    <a:pt x="706022" y="638608"/>
                    <a:pt x="709642" y="647539"/>
                  </a:cubicBezTo>
                  <a:cubicBezTo>
                    <a:pt x="723011" y="680752"/>
                    <a:pt x="736936" y="713966"/>
                    <a:pt x="751140" y="746900"/>
                  </a:cubicBezTo>
                  <a:cubicBezTo>
                    <a:pt x="754482" y="754714"/>
                    <a:pt x="752811" y="758622"/>
                    <a:pt x="745570" y="762808"/>
                  </a:cubicBezTo>
                  <a:cubicBezTo>
                    <a:pt x="716048" y="779275"/>
                    <a:pt x="684576" y="789602"/>
                    <a:pt x="651712" y="794905"/>
                  </a:cubicBezTo>
                  <a:cubicBezTo>
                    <a:pt x="614114" y="800766"/>
                    <a:pt x="576793" y="800766"/>
                    <a:pt x="539194" y="794347"/>
                  </a:cubicBezTo>
                  <a:cubicBezTo>
                    <a:pt x="488784" y="785416"/>
                    <a:pt x="450907" y="758064"/>
                    <a:pt x="423056" y="716198"/>
                  </a:cubicBezTo>
                  <a:cubicBezTo>
                    <a:pt x="394648" y="674054"/>
                    <a:pt x="375431" y="626886"/>
                    <a:pt x="352593" y="581671"/>
                  </a:cubicBezTo>
                  <a:cubicBezTo>
                    <a:pt x="346466" y="569391"/>
                    <a:pt x="340339" y="557110"/>
                    <a:pt x="334768" y="544830"/>
                  </a:cubicBezTo>
                  <a:cubicBezTo>
                    <a:pt x="331983" y="538969"/>
                    <a:pt x="328363" y="536736"/>
                    <a:pt x="321957" y="536736"/>
                  </a:cubicBezTo>
                  <a:cubicBezTo>
                    <a:pt x="281295" y="536736"/>
                    <a:pt x="240632" y="537015"/>
                    <a:pt x="199970" y="536736"/>
                  </a:cubicBezTo>
                  <a:cubicBezTo>
                    <a:pt x="190500" y="536736"/>
                    <a:pt x="189387" y="541201"/>
                    <a:pt x="189387" y="549016"/>
                  </a:cubicBezTo>
                  <a:cubicBezTo>
                    <a:pt x="189387" y="624653"/>
                    <a:pt x="189387" y="700010"/>
                    <a:pt x="189387" y="775647"/>
                  </a:cubicBezTo>
                  <a:cubicBezTo>
                    <a:pt x="189387" y="786811"/>
                    <a:pt x="184011" y="792393"/>
                    <a:pt x="173233" y="792393"/>
                  </a:cubicBezTo>
                  <a:cubicBezTo>
                    <a:pt x="121430" y="792393"/>
                    <a:pt x="69627" y="792393"/>
                    <a:pt x="17825" y="792393"/>
                  </a:cubicBezTo>
                  <a:cubicBezTo>
                    <a:pt x="5932" y="792393"/>
                    <a:pt x="0" y="786532"/>
                    <a:pt x="0" y="774810"/>
                  </a:cubicBezTo>
                  <a:cubicBezTo>
                    <a:pt x="0" y="648656"/>
                    <a:pt x="0" y="522501"/>
                    <a:pt x="0" y="396068"/>
                  </a:cubicBezTo>
                  <a:close/>
                  <a:moveTo>
                    <a:pt x="189387" y="272705"/>
                  </a:moveTo>
                  <a:cubicBezTo>
                    <a:pt x="189387" y="303406"/>
                    <a:pt x="189665" y="334108"/>
                    <a:pt x="189387" y="364809"/>
                  </a:cubicBezTo>
                  <a:cubicBezTo>
                    <a:pt x="189387" y="375136"/>
                    <a:pt x="192729" y="377927"/>
                    <a:pt x="202755" y="377927"/>
                  </a:cubicBezTo>
                  <a:cubicBezTo>
                    <a:pt x="243417" y="377368"/>
                    <a:pt x="284080" y="377927"/>
                    <a:pt x="324742" y="377648"/>
                  </a:cubicBezTo>
                  <a:cubicBezTo>
                    <a:pt x="344795" y="377648"/>
                    <a:pt x="364569" y="375415"/>
                    <a:pt x="384065" y="370670"/>
                  </a:cubicBezTo>
                  <a:cubicBezTo>
                    <a:pt x="420828" y="361460"/>
                    <a:pt x="450350" y="343318"/>
                    <a:pt x="461212" y="303964"/>
                  </a:cubicBezTo>
                  <a:cubicBezTo>
                    <a:pt x="467060" y="283032"/>
                    <a:pt x="467339" y="261541"/>
                    <a:pt x="462883" y="240329"/>
                  </a:cubicBezTo>
                  <a:cubicBezTo>
                    <a:pt x="456477" y="209070"/>
                    <a:pt x="437538" y="188695"/>
                    <a:pt x="407738" y="177531"/>
                  </a:cubicBezTo>
                  <a:cubicBezTo>
                    <a:pt x="388242" y="170275"/>
                    <a:pt x="368190" y="168321"/>
                    <a:pt x="347858" y="168042"/>
                  </a:cubicBezTo>
                  <a:cubicBezTo>
                    <a:pt x="299119" y="167205"/>
                    <a:pt x="250380" y="168042"/>
                    <a:pt x="201641" y="167484"/>
                  </a:cubicBezTo>
                  <a:cubicBezTo>
                    <a:pt x="192450" y="167484"/>
                    <a:pt x="189387" y="170275"/>
                    <a:pt x="189387" y="179485"/>
                  </a:cubicBezTo>
                  <a:cubicBezTo>
                    <a:pt x="189943" y="210465"/>
                    <a:pt x="189387" y="241725"/>
                    <a:pt x="189387" y="272705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Freeform 53">
              <a:extLst>
                <a:ext uri="{FF2B5EF4-FFF2-40B4-BE49-F238E27FC236}">
                  <a16:creationId xmlns:a16="http://schemas.microsoft.com/office/drawing/2014/main" id="{C621BAF5-29D8-3CD8-3498-53ADBD0CB357}"/>
                </a:ext>
              </a:extLst>
            </p:cNvPr>
            <p:cNvSpPr/>
            <p:nvPr/>
          </p:nvSpPr>
          <p:spPr>
            <a:xfrm>
              <a:off x="4891055" y="1394651"/>
              <a:ext cx="85277" cy="98868"/>
            </a:xfrm>
            <a:custGeom>
              <a:avLst/>
              <a:gdLst>
                <a:gd name="connsiteX0" fmla="*/ 365441 w 718052"/>
                <a:gd name="connsiteY0" fmla="*/ 669 h 823104"/>
                <a:gd name="connsiteX1" fmla="*/ 674586 w 718052"/>
                <a:gd name="connsiteY1" fmla="*/ 61234 h 823104"/>
                <a:gd name="connsiteX2" fmla="*/ 705779 w 718052"/>
                <a:gd name="connsiteY2" fmla="*/ 78538 h 823104"/>
                <a:gd name="connsiteX3" fmla="*/ 695475 w 718052"/>
                <a:gd name="connsiteY3" fmla="*/ 111193 h 823104"/>
                <a:gd name="connsiteX4" fmla="*/ 647014 w 718052"/>
                <a:gd name="connsiteY4" fmla="*/ 230370 h 823104"/>
                <a:gd name="connsiteX5" fmla="*/ 633924 w 718052"/>
                <a:gd name="connsiteY5" fmla="*/ 234835 h 823104"/>
                <a:gd name="connsiteX6" fmla="*/ 454564 w 718052"/>
                <a:gd name="connsiteY6" fmla="*/ 177340 h 823104"/>
                <a:gd name="connsiteX7" fmla="*/ 355136 w 718052"/>
                <a:gd name="connsiteY7" fmla="*/ 170921 h 823104"/>
                <a:gd name="connsiteX8" fmla="*/ 263506 w 718052"/>
                <a:gd name="connsiteY8" fmla="*/ 185434 h 823104"/>
                <a:gd name="connsiteX9" fmla="*/ 227857 w 718052"/>
                <a:gd name="connsiteY9" fmla="*/ 210832 h 823104"/>
                <a:gd name="connsiteX10" fmla="*/ 237326 w 718052"/>
                <a:gd name="connsiteY10" fmla="*/ 275863 h 823104"/>
                <a:gd name="connsiteX11" fmla="*/ 292750 w 718052"/>
                <a:gd name="connsiteY11" fmla="*/ 302936 h 823104"/>
                <a:gd name="connsiteX12" fmla="*/ 444259 w 718052"/>
                <a:gd name="connsiteY12" fmla="*/ 336428 h 823104"/>
                <a:gd name="connsiteX13" fmla="*/ 620277 w 718052"/>
                <a:gd name="connsiteY13" fmla="*/ 398668 h 823104"/>
                <a:gd name="connsiteX14" fmla="*/ 716363 w 718052"/>
                <a:gd name="connsiteY14" fmla="*/ 549942 h 823104"/>
                <a:gd name="connsiteX15" fmla="*/ 677928 w 718052"/>
                <a:gd name="connsiteY15" fmla="*/ 707634 h 823104"/>
                <a:gd name="connsiteX16" fmla="*/ 559841 w 718052"/>
                <a:gd name="connsiteY16" fmla="*/ 792481 h 823104"/>
                <a:gd name="connsiteX17" fmla="*/ 419193 w 718052"/>
                <a:gd name="connsiteY17" fmla="*/ 821229 h 823104"/>
                <a:gd name="connsiteX18" fmla="*/ 156002 w 718052"/>
                <a:gd name="connsiteY18" fmla="*/ 793877 h 823104"/>
                <a:gd name="connsiteX19" fmla="*/ 6999 w 718052"/>
                <a:gd name="connsiteY19" fmla="*/ 717682 h 823104"/>
                <a:gd name="connsiteX20" fmla="*/ 2822 w 718052"/>
                <a:gd name="connsiteY20" fmla="*/ 697028 h 823104"/>
                <a:gd name="connsiteX21" fmla="*/ 70221 w 718052"/>
                <a:gd name="connsiteY21" fmla="*/ 570595 h 823104"/>
                <a:gd name="connsiteX22" fmla="*/ 87488 w 718052"/>
                <a:gd name="connsiteY22" fmla="*/ 566409 h 823104"/>
                <a:gd name="connsiteX23" fmla="*/ 325336 w 718052"/>
                <a:gd name="connsiteY23" fmla="*/ 651814 h 823104"/>
                <a:gd name="connsiteX24" fmla="*/ 444538 w 718052"/>
                <a:gd name="connsiteY24" fmla="*/ 646790 h 823104"/>
                <a:gd name="connsiteX25" fmla="*/ 497733 w 718052"/>
                <a:gd name="connsiteY25" fmla="*/ 625299 h 823104"/>
                <a:gd name="connsiteX26" fmla="*/ 491327 w 718052"/>
                <a:gd name="connsiteY26" fmla="*/ 535986 h 823104"/>
                <a:gd name="connsiteX27" fmla="*/ 391342 w 718052"/>
                <a:gd name="connsiteY27" fmla="*/ 507518 h 823104"/>
                <a:gd name="connsiteX28" fmla="*/ 209754 w 718052"/>
                <a:gd name="connsiteY28" fmla="*/ 467048 h 823104"/>
                <a:gd name="connsiteX29" fmla="*/ 95565 w 718052"/>
                <a:gd name="connsiteY29" fmla="*/ 409553 h 823104"/>
                <a:gd name="connsiteX30" fmla="*/ 23710 w 718052"/>
                <a:gd name="connsiteY30" fmla="*/ 282283 h 823104"/>
                <a:gd name="connsiteX31" fmla="*/ 71335 w 718052"/>
                <a:gd name="connsiteY31" fmla="*/ 107844 h 823104"/>
                <a:gd name="connsiteX32" fmla="*/ 193600 w 718052"/>
                <a:gd name="connsiteY32" fmla="*/ 26346 h 823104"/>
                <a:gd name="connsiteX33" fmla="*/ 365719 w 718052"/>
                <a:gd name="connsiteY33" fmla="*/ 110 h 823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18052" h="823104">
                  <a:moveTo>
                    <a:pt x="365441" y="669"/>
                  </a:moveTo>
                  <a:cubicBezTo>
                    <a:pt x="472389" y="1506"/>
                    <a:pt x="575715" y="19368"/>
                    <a:pt x="674586" y="61234"/>
                  </a:cubicBezTo>
                  <a:cubicBezTo>
                    <a:pt x="685727" y="65978"/>
                    <a:pt x="701045" y="68490"/>
                    <a:pt x="705779" y="78538"/>
                  </a:cubicBezTo>
                  <a:cubicBezTo>
                    <a:pt x="710514" y="88586"/>
                    <a:pt x="699931" y="100308"/>
                    <a:pt x="695475" y="111193"/>
                  </a:cubicBezTo>
                  <a:cubicBezTo>
                    <a:pt x="679600" y="151105"/>
                    <a:pt x="662889" y="190737"/>
                    <a:pt x="647014" y="230370"/>
                  </a:cubicBezTo>
                  <a:cubicBezTo>
                    <a:pt x="643951" y="237626"/>
                    <a:pt x="641165" y="238743"/>
                    <a:pt x="633924" y="234835"/>
                  </a:cubicBezTo>
                  <a:cubicBezTo>
                    <a:pt x="578222" y="202738"/>
                    <a:pt x="517507" y="186271"/>
                    <a:pt x="454564" y="177340"/>
                  </a:cubicBezTo>
                  <a:cubicBezTo>
                    <a:pt x="421700" y="172595"/>
                    <a:pt x="388279" y="170084"/>
                    <a:pt x="355136" y="170921"/>
                  </a:cubicBezTo>
                  <a:cubicBezTo>
                    <a:pt x="324221" y="171758"/>
                    <a:pt x="293028" y="173712"/>
                    <a:pt x="263506" y="185434"/>
                  </a:cubicBezTo>
                  <a:cubicBezTo>
                    <a:pt x="249581" y="191016"/>
                    <a:pt x="236769" y="198273"/>
                    <a:pt x="227857" y="210832"/>
                  </a:cubicBezTo>
                  <a:cubicBezTo>
                    <a:pt x="211982" y="233161"/>
                    <a:pt x="215881" y="258838"/>
                    <a:pt x="237326" y="275863"/>
                  </a:cubicBezTo>
                  <a:cubicBezTo>
                    <a:pt x="253758" y="288981"/>
                    <a:pt x="272976" y="296796"/>
                    <a:pt x="292750" y="302936"/>
                  </a:cubicBezTo>
                  <a:cubicBezTo>
                    <a:pt x="342325" y="318566"/>
                    <a:pt x="393570" y="325543"/>
                    <a:pt x="444259" y="336428"/>
                  </a:cubicBezTo>
                  <a:cubicBezTo>
                    <a:pt x="505531" y="349825"/>
                    <a:pt x="565689" y="365734"/>
                    <a:pt x="620277" y="398668"/>
                  </a:cubicBezTo>
                  <a:cubicBezTo>
                    <a:pt x="677372" y="433277"/>
                    <a:pt x="709122" y="483515"/>
                    <a:pt x="716363" y="549942"/>
                  </a:cubicBezTo>
                  <a:cubicBezTo>
                    <a:pt x="722490" y="607437"/>
                    <a:pt x="712464" y="660466"/>
                    <a:pt x="677928" y="707634"/>
                  </a:cubicBezTo>
                  <a:cubicBezTo>
                    <a:pt x="647850" y="748662"/>
                    <a:pt x="606630" y="774619"/>
                    <a:pt x="559841" y="792481"/>
                  </a:cubicBezTo>
                  <a:cubicBezTo>
                    <a:pt x="514722" y="809786"/>
                    <a:pt x="467375" y="818159"/>
                    <a:pt x="419193" y="821229"/>
                  </a:cubicBezTo>
                  <a:cubicBezTo>
                    <a:pt x="329791" y="827090"/>
                    <a:pt x="242061" y="819554"/>
                    <a:pt x="156002" y="793877"/>
                  </a:cubicBezTo>
                  <a:cubicBezTo>
                    <a:pt x="101692" y="777689"/>
                    <a:pt x="50725" y="754523"/>
                    <a:pt x="6999" y="717682"/>
                  </a:cubicBezTo>
                  <a:cubicBezTo>
                    <a:pt x="-799" y="711262"/>
                    <a:pt x="-1913" y="705681"/>
                    <a:pt x="2822" y="697028"/>
                  </a:cubicBezTo>
                  <a:cubicBezTo>
                    <a:pt x="25659" y="655163"/>
                    <a:pt x="48219" y="613019"/>
                    <a:pt x="70221" y="570595"/>
                  </a:cubicBezTo>
                  <a:cubicBezTo>
                    <a:pt x="74955" y="561664"/>
                    <a:pt x="78576" y="559989"/>
                    <a:pt x="87488" y="566409"/>
                  </a:cubicBezTo>
                  <a:cubicBezTo>
                    <a:pt x="158230" y="618322"/>
                    <a:pt x="238440" y="644557"/>
                    <a:pt x="325336" y="651814"/>
                  </a:cubicBezTo>
                  <a:cubicBezTo>
                    <a:pt x="365441" y="655163"/>
                    <a:pt x="404989" y="654326"/>
                    <a:pt x="444538" y="646790"/>
                  </a:cubicBezTo>
                  <a:cubicBezTo>
                    <a:pt x="463476" y="643162"/>
                    <a:pt x="481301" y="636463"/>
                    <a:pt x="497733" y="625299"/>
                  </a:cubicBezTo>
                  <a:cubicBezTo>
                    <a:pt x="528369" y="604366"/>
                    <a:pt x="530319" y="553570"/>
                    <a:pt x="491327" y="535986"/>
                  </a:cubicBezTo>
                  <a:cubicBezTo>
                    <a:pt x="459299" y="521473"/>
                    <a:pt x="425320" y="514216"/>
                    <a:pt x="391342" y="507518"/>
                  </a:cubicBezTo>
                  <a:cubicBezTo>
                    <a:pt x="330349" y="495517"/>
                    <a:pt x="268798" y="486306"/>
                    <a:pt x="209754" y="467048"/>
                  </a:cubicBezTo>
                  <a:cubicBezTo>
                    <a:pt x="168813" y="453651"/>
                    <a:pt x="129543" y="436905"/>
                    <a:pt x="95565" y="409553"/>
                  </a:cubicBezTo>
                  <a:cubicBezTo>
                    <a:pt x="54624" y="376898"/>
                    <a:pt x="31230" y="333917"/>
                    <a:pt x="23710" y="282283"/>
                  </a:cubicBezTo>
                  <a:cubicBezTo>
                    <a:pt x="14241" y="217252"/>
                    <a:pt x="29280" y="158640"/>
                    <a:pt x="71335" y="107844"/>
                  </a:cubicBezTo>
                  <a:cubicBezTo>
                    <a:pt x="103921" y="68490"/>
                    <a:pt x="146254" y="43371"/>
                    <a:pt x="193600" y="26346"/>
                  </a:cubicBezTo>
                  <a:cubicBezTo>
                    <a:pt x="249302" y="6251"/>
                    <a:pt x="306954" y="-1006"/>
                    <a:pt x="365719" y="110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54">
              <a:extLst>
                <a:ext uri="{FF2B5EF4-FFF2-40B4-BE49-F238E27FC236}">
                  <a16:creationId xmlns:a16="http://schemas.microsoft.com/office/drawing/2014/main" id="{AB622B0C-117D-F7D7-CCD3-A09D2725626E}"/>
                </a:ext>
              </a:extLst>
            </p:cNvPr>
            <p:cNvSpPr/>
            <p:nvPr/>
          </p:nvSpPr>
          <p:spPr>
            <a:xfrm>
              <a:off x="4990785" y="1396408"/>
              <a:ext cx="77268" cy="95009"/>
            </a:xfrm>
            <a:custGeom>
              <a:avLst/>
              <a:gdLst>
                <a:gd name="connsiteX0" fmla="*/ 0 w 650611"/>
                <a:gd name="connsiteY0" fmla="*/ 395209 h 790975"/>
                <a:gd name="connsiteX1" fmla="*/ 0 w 650611"/>
                <a:gd name="connsiteY1" fmla="*/ 18700 h 790975"/>
                <a:gd name="connsiteX2" fmla="*/ 18103 w 650611"/>
                <a:gd name="connsiteY2" fmla="*/ 0 h 790975"/>
                <a:gd name="connsiteX3" fmla="*/ 631381 w 650611"/>
                <a:gd name="connsiteY3" fmla="*/ 0 h 790975"/>
                <a:gd name="connsiteX4" fmla="*/ 650041 w 650611"/>
                <a:gd name="connsiteY4" fmla="*/ 18421 h 790975"/>
                <a:gd name="connsiteX5" fmla="*/ 650041 w 650611"/>
                <a:gd name="connsiteY5" fmla="*/ 149320 h 790975"/>
                <a:gd name="connsiteX6" fmla="*/ 632217 w 650611"/>
                <a:gd name="connsiteY6" fmla="*/ 166624 h 790975"/>
                <a:gd name="connsiteX7" fmla="*/ 207490 w 650611"/>
                <a:gd name="connsiteY7" fmla="*/ 166624 h 790975"/>
                <a:gd name="connsiteX8" fmla="*/ 190500 w 650611"/>
                <a:gd name="connsiteY8" fmla="*/ 183928 h 790975"/>
                <a:gd name="connsiteX9" fmla="*/ 190500 w 650611"/>
                <a:gd name="connsiteY9" fmla="*/ 305059 h 790975"/>
                <a:gd name="connsiteX10" fmla="*/ 205261 w 650611"/>
                <a:gd name="connsiteY10" fmla="*/ 319572 h 790975"/>
                <a:gd name="connsiteX11" fmla="*/ 533624 w 650611"/>
                <a:gd name="connsiteY11" fmla="*/ 319572 h 790975"/>
                <a:gd name="connsiteX12" fmla="*/ 550892 w 650611"/>
                <a:gd name="connsiteY12" fmla="*/ 336597 h 790975"/>
                <a:gd name="connsiteX13" fmla="*/ 550892 w 650611"/>
                <a:gd name="connsiteY13" fmla="*/ 453262 h 790975"/>
                <a:gd name="connsiteX14" fmla="*/ 534738 w 650611"/>
                <a:gd name="connsiteY14" fmla="*/ 468892 h 790975"/>
                <a:gd name="connsiteX15" fmla="*/ 207490 w 650611"/>
                <a:gd name="connsiteY15" fmla="*/ 468892 h 790975"/>
                <a:gd name="connsiteX16" fmla="*/ 191058 w 650611"/>
                <a:gd name="connsiteY16" fmla="*/ 485359 h 790975"/>
                <a:gd name="connsiteX17" fmla="*/ 191058 w 650611"/>
                <a:gd name="connsiteY17" fmla="*/ 608722 h 790975"/>
                <a:gd name="connsiteX18" fmla="*/ 206654 w 650611"/>
                <a:gd name="connsiteY18" fmla="*/ 624072 h 790975"/>
                <a:gd name="connsiteX19" fmla="*/ 626925 w 650611"/>
                <a:gd name="connsiteY19" fmla="*/ 624072 h 790975"/>
                <a:gd name="connsiteX20" fmla="*/ 636951 w 650611"/>
                <a:gd name="connsiteY20" fmla="*/ 624072 h 790975"/>
                <a:gd name="connsiteX21" fmla="*/ 650598 w 650611"/>
                <a:gd name="connsiteY21" fmla="*/ 637469 h 790975"/>
                <a:gd name="connsiteX22" fmla="*/ 650598 w 650611"/>
                <a:gd name="connsiteY22" fmla="*/ 709757 h 790975"/>
                <a:gd name="connsiteX23" fmla="*/ 650598 w 650611"/>
                <a:gd name="connsiteY23" fmla="*/ 771996 h 790975"/>
                <a:gd name="connsiteX24" fmla="*/ 631938 w 650611"/>
                <a:gd name="connsiteY24" fmla="*/ 790975 h 790975"/>
                <a:gd name="connsiteX25" fmla="*/ 315830 w 650611"/>
                <a:gd name="connsiteY25" fmla="*/ 790975 h 790975"/>
                <a:gd name="connsiteX26" fmla="*/ 16432 w 650611"/>
                <a:gd name="connsiteY26" fmla="*/ 790975 h 790975"/>
                <a:gd name="connsiteX27" fmla="*/ 278 w 650611"/>
                <a:gd name="connsiteY27" fmla="*/ 774788 h 790975"/>
                <a:gd name="connsiteX28" fmla="*/ 278 w 650611"/>
                <a:gd name="connsiteY28" fmla="*/ 394930 h 79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50611" h="790975">
                  <a:moveTo>
                    <a:pt x="0" y="395209"/>
                  </a:moveTo>
                  <a:cubicBezTo>
                    <a:pt x="0" y="269613"/>
                    <a:pt x="0" y="144296"/>
                    <a:pt x="0" y="18700"/>
                  </a:cubicBezTo>
                  <a:cubicBezTo>
                    <a:pt x="0" y="6232"/>
                    <a:pt x="6044" y="0"/>
                    <a:pt x="18103" y="0"/>
                  </a:cubicBezTo>
                  <a:cubicBezTo>
                    <a:pt x="222529" y="0"/>
                    <a:pt x="426955" y="0"/>
                    <a:pt x="631381" y="0"/>
                  </a:cubicBezTo>
                  <a:cubicBezTo>
                    <a:pt x="643830" y="0"/>
                    <a:pt x="650041" y="6140"/>
                    <a:pt x="650041" y="18421"/>
                  </a:cubicBezTo>
                  <a:cubicBezTo>
                    <a:pt x="650041" y="61961"/>
                    <a:pt x="650041" y="105780"/>
                    <a:pt x="650041" y="149320"/>
                  </a:cubicBezTo>
                  <a:cubicBezTo>
                    <a:pt x="650041" y="160855"/>
                    <a:pt x="644109" y="166624"/>
                    <a:pt x="632217" y="166624"/>
                  </a:cubicBezTo>
                  <a:cubicBezTo>
                    <a:pt x="490734" y="166624"/>
                    <a:pt x="348972" y="166624"/>
                    <a:pt x="207490" y="166624"/>
                  </a:cubicBezTo>
                  <a:cubicBezTo>
                    <a:pt x="196154" y="166624"/>
                    <a:pt x="190500" y="172393"/>
                    <a:pt x="190500" y="183928"/>
                  </a:cubicBezTo>
                  <a:cubicBezTo>
                    <a:pt x="190500" y="224398"/>
                    <a:pt x="190779" y="264589"/>
                    <a:pt x="190500" y="305059"/>
                  </a:cubicBezTo>
                  <a:cubicBezTo>
                    <a:pt x="190500" y="316502"/>
                    <a:pt x="194121" y="319572"/>
                    <a:pt x="205261" y="319572"/>
                  </a:cubicBezTo>
                  <a:cubicBezTo>
                    <a:pt x="314715" y="319293"/>
                    <a:pt x="424170" y="319572"/>
                    <a:pt x="533624" y="319572"/>
                  </a:cubicBezTo>
                  <a:cubicBezTo>
                    <a:pt x="544960" y="319572"/>
                    <a:pt x="550697" y="325246"/>
                    <a:pt x="550892" y="336597"/>
                  </a:cubicBezTo>
                  <a:cubicBezTo>
                    <a:pt x="550892" y="375392"/>
                    <a:pt x="550892" y="414188"/>
                    <a:pt x="550892" y="453262"/>
                  </a:cubicBezTo>
                  <a:cubicBezTo>
                    <a:pt x="550892" y="468892"/>
                    <a:pt x="550892" y="468892"/>
                    <a:pt x="534738" y="468892"/>
                  </a:cubicBezTo>
                  <a:cubicBezTo>
                    <a:pt x="425563" y="468892"/>
                    <a:pt x="316665" y="468892"/>
                    <a:pt x="207490" y="468892"/>
                  </a:cubicBezTo>
                  <a:cubicBezTo>
                    <a:pt x="196544" y="468892"/>
                    <a:pt x="191058" y="474381"/>
                    <a:pt x="191058" y="485359"/>
                  </a:cubicBezTo>
                  <a:cubicBezTo>
                    <a:pt x="191058" y="526387"/>
                    <a:pt x="191058" y="567415"/>
                    <a:pt x="191058" y="608722"/>
                  </a:cubicBezTo>
                  <a:cubicBezTo>
                    <a:pt x="191058" y="623793"/>
                    <a:pt x="191336" y="624072"/>
                    <a:pt x="206654" y="624072"/>
                  </a:cubicBezTo>
                  <a:cubicBezTo>
                    <a:pt x="346744" y="624072"/>
                    <a:pt x="486835" y="624072"/>
                    <a:pt x="626925" y="624072"/>
                  </a:cubicBezTo>
                  <a:cubicBezTo>
                    <a:pt x="630267" y="624072"/>
                    <a:pt x="633609" y="624072"/>
                    <a:pt x="636951" y="624072"/>
                  </a:cubicBezTo>
                  <a:cubicBezTo>
                    <a:pt x="646699" y="623235"/>
                    <a:pt x="650877" y="627142"/>
                    <a:pt x="650598" y="637469"/>
                  </a:cubicBezTo>
                  <a:cubicBezTo>
                    <a:pt x="650041" y="661472"/>
                    <a:pt x="650598" y="685475"/>
                    <a:pt x="650598" y="709757"/>
                  </a:cubicBezTo>
                  <a:cubicBezTo>
                    <a:pt x="650598" y="730410"/>
                    <a:pt x="650598" y="751343"/>
                    <a:pt x="650598" y="771996"/>
                  </a:cubicBezTo>
                  <a:cubicBezTo>
                    <a:pt x="650598" y="784648"/>
                    <a:pt x="644387" y="790975"/>
                    <a:pt x="631938" y="790975"/>
                  </a:cubicBezTo>
                  <a:cubicBezTo>
                    <a:pt x="526661" y="790975"/>
                    <a:pt x="421106" y="790975"/>
                    <a:pt x="315830" y="790975"/>
                  </a:cubicBezTo>
                  <a:cubicBezTo>
                    <a:pt x="216123" y="790975"/>
                    <a:pt x="116138" y="790975"/>
                    <a:pt x="16432" y="790975"/>
                  </a:cubicBezTo>
                  <a:cubicBezTo>
                    <a:pt x="557" y="790975"/>
                    <a:pt x="278" y="790975"/>
                    <a:pt x="278" y="774788"/>
                  </a:cubicBezTo>
                  <a:cubicBezTo>
                    <a:pt x="278" y="648075"/>
                    <a:pt x="278" y="521642"/>
                    <a:pt x="278" y="394930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55">
              <a:extLst>
                <a:ext uri="{FF2B5EF4-FFF2-40B4-BE49-F238E27FC236}">
                  <a16:creationId xmlns:a16="http://schemas.microsoft.com/office/drawing/2014/main" id="{FEEF7EC8-EC87-3B9B-7145-4C30C78053F4}"/>
                </a:ext>
              </a:extLst>
            </p:cNvPr>
            <p:cNvSpPr/>
            <p:nvPr/>
          </p:nvSpPr>
          <p:spPr>
            <a:xfrm>
              <a:off x="4686118" y="1396386"/>
              <a:ext cx="84077" cy="95098"/>
            </a:xfrm>
            <a:custGeom>
              <a:avLst/>
              <a:gdLst>
                <a:gd name="connsiteX0" fmla="*/ 0 w 707945"/>
                <a:gd name="connsiteY0" fmla="*/ 395391 h 791715"/>
                <a:gd name="connsiteX1" fmla="*/ 0 w 707945"/>
                <a:gd name="connsiteY1" fmla="*/ 16928 h 791715"/>
                <a:gd name="connsiteX2" fmla="*/ 16432 w 707945"/>
                <a:gd name="connsiteY2" fmla="*/ 182 h 791715"/>
                <a:gd name="connsiteX3" fmla="*/ 375709 w 707945"/>
                <a:gd name="connsiteY3" fmla="*/ 461 h 791715"/>
                <a:gd name="connsiteX4" fmla="*/ 555905 w 707945"/>
                <a:gd name="connsiteY4" fmla="*/ 35907 h 791715"/>
                <a:gd name="connsiteX5" fmla="*/ 701287 w 707945"/>
                <a:gd name="connsiteY5" fmla="*/ 223464 h 791715"/>
                <a:gd name="connsiteX6" fmla="*/ 700173 w 707945"/>
                <a:gd name="connsiteY6" fmla="*/ 368876 h 791715"/>
                <a:gd name="connsiteX7" fmla="*/ 532788 w 707945"/>
                <a:gd name="connsiteY7" fmla="*/ 558386 h 791715"/>
                <a:gd name="connsiteX8" fmla="*/ 398268 w 707945"/>
                <a:gd name="connsiteY8" fmla="*/ 582948 h 791715"/>
                <a:gd name="connsiteX9" fmla="*/ 205261 w 707945"/>
                <a:gd name="connsiteY9" fmla="*/ 584622 h 791715"/>
                <a:gd name="connsiteX10" fmla="*/ 189108 w 707945"/>
                <a:gd name="connsiteY10" fmla="*/ 600252 h 791715"/>
                <a:gd name="connsiteX11" fmla="*/ 189108 w 707945"/>
                <a:gd name="connsiteY11" fmla="*/ 776923 h 791715"/>
                <a:gd name="connsiteX12" fmla="*/ 174347 w 707945"/>
                <a:gd name="connsiteY12" fmla="*/ 791716 h 791715"/>
                <a:gd name="connsiteX13" fmla="*/ 14761 w 707945"/>
                <a:gd name="connsiteY13" fmla="*/ 791716 h 791715"/>
                <a:gd name="connsiteX14" fmla="*/ 0 w 707945"/>
                <a:gd name="connsiteY14" fmla="*/ 776644 h 791715"/>
                <a:gd name="connsiteX15" fmla="*/ 0 w 707945"/>
                <a:gd name="connsiteY15" fmla="*/ 395949 h 791715"/>
                <a:gd name="connsiteX16" fmla="*/ 189386 w 707945"/>
                <a:gd name="connsiteY16" fmla="*/ 291007 h 791715"/>
                <a:gd name="connsiteX17" fmla="*/ 189386 w 707945"/>
                <a:gd name="connsiteY17" fmla="*/ 400973 h 791715"/>
                <a:gd name="connsiteX18" fmla="*/ 203869 w 707945"/>
                <a:gd name="connsiteY18" fmla="*/ 415486 h 791715"/>
                <a:gd name="connsiteX19" fmla="*/ 367911 w 707945"/>
                <a:gd name="connsiteY19" fmla="*/ 415486 h 791715"/>
                <a:gd name="connsiteX20" fmla="*/ 421942 w 707945"/>
                <a:gd name="connsiteY20" fmla="*/ 410741 h 791715"/>
                <a:gd name="connsiteX21" fmla="*/ 516078 w 707945"/>
                <a:gd name="connsiteY21" fmla="*/ 322545 h 791715"/>
                <a:gd name="connsiteX22" fmla="*/ 516914 w 707945"/>
                <a:gd name="connsiteY22" fmla="*/ 270632 h 791715"/>
                <a:gd name="connsiteX23" fmla="*/ 442273 w 707945"/>
                <a:gd name="connsiteY23" fmla="*/ 177691 h 791715"/>
                <a:gd name="connsiteX24" fmla="*/ 369025 w 707945"/>
                <a:gd name="connsiteY24" fmla="*/ 167923 h 791715"/>
                <a:gd name="connsiteX25" fmla="*/ 202755 w 707945"/>
                <a:gd name="connsiteY25" fmla="*/ 167364 h 791715"/>
                <a:gd name="connsiteX26" fmla="*/ 189386 w 707945"/>
                <a:gd name="connsiteY26" fmla="*/ 180482 h 791715"/>
                <a:gd name="connsiteX27" fmla="*/ 189386 w 707945"/>
                <a:gd name="connsiteY27" fmla="*/ 291565 h 791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07945" h="791715">
                  <a:moveTo>
                    <a:pt x="0" y="395391"/>
                  </a:moveTo>
                  <a:cubicBezTo>
                    <a:pt x="0" y="269237"/>
                    <a:pt x="0" y="143083"/>
                    <a:pt x="0" y="16928"/>
                  </a:cubicBezTo>
                  <a:cubicBezTo>
                    <a:pt x="0" y="182"/>
                    <a:pt x="0" y="182"/>
                    <a:pt x="16432" y="182"/>
                  </a:cubicBezTo>
                  <a:cubicBezTo>
                    <a:pt x="136191" y="182"/>
                    <a:pt x="255950" y="-376"/>
                    <a:pt x="375709" y="461"/>
                  </a:cubicBezTo>
                  <a:cubicBezTo>
                    <a:pt x="437817" y="1020"/>
                    <a:pt x="498810" y="9672"/>
                    <a:pt x="555905" y="35907"/>
                  </a:cubicBezTo>
                  <a:cubicBezTo>
                    <a:pt x="637230" y="73028"/>
                    <a:pt x="684855" y="136105"/>
                    <a:pt x="701287" y="223464"/>
                  </a:cubicBezTo>
                  <a:cubicBezTo>
                    <a:pt x="710478" y="272028"/>
                    <a:pt x="710199" y="320591"/>
                    <a:pt x="700173" y="368876"/>
                  </a:cubicBezTo>
                  <a:cubicBezTo>
                    <a:pt x="680399" y="463492"/>
                    <a:pt x="622747" y="525452"/>
                    <a:pt x="532788" y="558386"/>
                  </a:cubicBezTo>
                  <a:cubicBezTo>
                    <a:pt x="489341" y="574295"/>
                    <a:pt x="444223" y="580994"/>
                    <a:pt x="398268" y="582948"/>
                  </a:cubicBezTo>
                  <a:cubicBezTo>
                    <a:pt x="333933" y="586018"/>
                    <a:pt x="269597" y="583506"/>
                    <a:pt x="205261" y="584622"/>
                  </a:cubicBezTo>
                  <a:cubicBezTo>
                    <a:pt x="189108" y="584622"/>
                    <a:pt x="189108" y="584622"/>
                    <a:pt x="189108" y="600252"/>
                  </a:cubicBezTo>
                  <a:cubicBezTo>
                    <a:pt x="189108" y="659142"/>
                    <a:pt x="189108" y="718033"/>
                    <a:pt x="189108" y="776923"/>
                  </a:cubicBezTo>
                  <a:cubicBezTo>
                    <a:pt x="189108" y="791716"/>
                    <a:pt x="189108" y="791716"/>
                    <a:pt x="174347" y="791716"/>
                  </a:cubicBezTo>
                  <a:cubicBezTo>
                    <a:pt x="121151" y="791716"/>
                    <a:pt x="67956" y="791716"/>
                    <a:pt x="14761" y="791716"/>
                  </a:cubicBezTo>
                  <a:cubicBezTo>
                    <a:pt x="278" y="791716"/>
                    <a:pt x="0" y="791716"/>
                    <a:pt x="0" y="776644"/>
                  </a:cubicBezTo>
                  <a:cubicBezTo>
                    <a:pt x="0" y="649653"/>
                    <a:pt x="0" y="522661"/>
                    <a:pt x="0" y="395949"/>
                  </a:cubicBezTo>
                  <a:close/>
                  <a:moveTo>
                    <a:pt x="189386" y="291007"/>
                  </a:moveTo>
                  <a:cubicBezTo>
                    <a:pt x="189386" y="327569"/>
                    <a:pt x="189665" y="364131"/>
                    <a:pt x="189386" y="400973"/>
                  </a:cubicBezTo>
                  <a:cubicBezTo>
                    <a:pt x="189386" y="412137"/>
                    <a:pt x="192729" y="415486"/>
                    <a:pt x="203869" y="415486"/>
                  </a:cubicBezTo>
                  <a:cubicBezTo>
                    <a:pt x="258457" y="414928"/>
                    <a:pt x="313323" y="415207"/>
                    <a:pt x="367911" y="415486"/>
                  </a:cubicBezTo>
                  <a:cubicBezTo>
                    <a:pt x="386014" y="415486"/>
                    <a:pt x="404117" y="413812"/>
                    <a:pt x="421942" y="410741"/>
                  </a:cubicBezTo>
                  <a:cubicBezTo>
                    <a:pt x="475137" y="401531"/>
                    <a:pt x="506330" y="372504"/>
                    <a:pt x="516078" y="322545"/>
                  </a:cubicBezTo>
                  <a:cubicBezTo>
                    <a:pt x="519420" y="305520"/>
                    <a:pt x="518306" y="287937"/>
                    <a:pt x="516914" y="270632"/>
                  </a:cubicBezTo>
                  <a:cubicBezTo>
                    <a:pt x="513572" y="224301"/>
                    <a:pt x="486556" y="191367"/>
                    <a:pt x="442273" y="177691"/>
                  </a:cubicBezTo>
                  <a:cubicBezTo>
                    <a:pt x="418321" y="170155"/>
                    <a:pt x="393534" y="168202"/>
                    <a:pt x="369025" y="167923"/>
                  </a:cubicBezTo>
                  <a:cubicBezTo>
                    <a:pt x="313602" y="167085"/>
                    <a:pt x="258178" y="167923"/>
                    <a:pt x="202755" y="167364"/>
                  </a:cubicBezTo>
                  <a:cubicBezTo>
                    <a:pt x="192729" y="167364"/>
                    <a:pt x="189386" y="170155"/>
                    <a:pt x="189386" y="180482"/>
                  </a:cubicBezTo>
                  <a:cubicBezTo>
                    <a:pt x="189943" y="217324"/>
                    <a:pt x="189386" y="254444"/>
                    <a:pt x="189386" y="291565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56">
              <a:extLst>
                <a:ext uri="{FF2B5EF4-FFF2-40B4-BE49-F238E27FC236}">
                  <a16:creationId xmlns:a16="http://schemas.microsoft.com/office/drawing/2014/main" id="{21973330-C246-14E2-95EA-A6D27380D703}"/>
                </a:ext>
              </a:extLst>
            </p:cNvPr>
            <p:cNvSpPr/>
            <p:nvPr/>
          </p:nvSpPr>
          <p:spPr>
            <a:xfrm>
              <a:off x="4388067" y="1396338"/>
              <a:ext cx="84013" cy="95079"/>
            </a:xfrm>
            <a:custGeom>
              <a:avLst/>
              <a:gdLst>
                <a:gd name="connsiteX0" fmla="*/ 0 w 707402"/>
                <a:gd name="connsiteY0" fmla="*/ 395789 h 791555"/>
                <a:gd name="connsiteX1" fmla="*/ 0 w 707402"/>
                <a:gd name="connsiteY1" fmla="*/ 17048 h 791555"/>
                <a:gd name="connsiteX2" fmla="*/ 16432 w 707402"/>
                <a:gd name="connsiteY2" fmla="*/ 301 h 791555"/>
                <a:gd name="connsiteX3" fmla="*/ 375709 w 707402"/>
                <a:gd name="connsiteY3" fmla="*/ 581 h 791555"/>
                <a:gd name="connsiteX4" fmla="*/ 565931 w 707402"/>
                <a:gd name="connsiteY4" fmla="*/ 40771 h 791555"/>
                <a:gd name="connsiteX5" fmla="*/ 701844 w 707402"/>
                <a:gd name="connsiteY5" fmla="*/ 229165 h 791555"/>
                <a:gd name="connsiteX6" fmla="*/ 695160 w 707402"/>
                <a:gd name="connsiteY6" fmla="*/ 387416 h 791555"/>
                <a:gd name="connsiteX7" fmla="*/ 540308 w 707402"/>
                <a:gd name="connsiteY7" fmla="*/ 555156 h 791555"/>
                <a:gd name="connsiteX8" fmla="*/ 398547 w 707402"/>
                <a:gd name="connsiteY8" fmla="*/ 582788 h 791555"/>
                <a:gd name="connsiteX9" fmla="*/ 203312 w 707402"/>
                <a:gd name="connsiteY9" fmla="*/ 584183 h 791555"/>
                <a:gd name="connsiteX10" fmla="*/ 189386 w 707402"/>
                <a:gd name="connsiteY10" fmla="*/ 598138 h 791555"/>
                <a:gd name="connsiteX11" fmla="*/ 189386 w 707402"/>
                <a:gd name="connsiteY11" fmla="*/ 775926 h 791555"/>
                <a:gd name="connsiteX12" fmla="*/ 174347 w 707402"/>
                <a:gd name="connsiteY12" fmla="*/ 791556 h 791555"/>
                <a:gd name="connsiteX13" fmla="*/ 14483 w 707402"/>
                <a:gd name="connsiteY13" fmla="*/ 791556 h 791555"/>
                <a:gd name="connsiteX14" fmla="*/ 0 w 707402"/>
                <a:gd name="connsiteY14" fmla="*/ 776484 h 791555"/>
                <a:gd name="connsiteX15" fmla="*/ 0 w 707402"/>
                <a:gd name="connsiteY15" fmla="*/ 395510 h 791555"/>
                <a:gd name="connsiteX16" fmla="*/ 189665 w 707402"/>
                <a:gd name="connsiteY16" fmla="*/ 291126 h 791555"/>
                <a:gd name="connsiteX17" fmla="*/ 189665 w 707402"/>
                <a:gd name="connsiteY17" fmla="*/ 401092 h 791555"/>
                <a:gd name="connsiteX18" fmla="*/ 203869 w 707402"/>
                <a:gd name="connsiteY18" fmla="*/ 415605 h 791555"/>
                <a:gd name="connsiteX19" fmla="*/ 369025 w 707402"/>
                <a:gd name="connsiteY19" fmla="*/ 415605 h 791555"/>
                <a:gd name="connsiteX20" fmla="*/ 421942 w 707402"/>
                <a:gd name="connsiteY20" fmla="*/ 410582 h 791555"/>
                <a:gd name="connsiteX21" fmla="*/ 509672 w 707402"/>
                <a:gd name="connsiteY21" fmla="*/ 344155 h 791555"/>
                <a:gd name="connsiteX22" fmla="*/ 517192 w 707402"/>
                <a:gd name="connsiteY22" fmla="*/ 277450 h 791555"/>
                <a:gd name="connsiteX23" fmla="*/ 433361 w 707402"/>
                <a:gd name="connsiteY23" fmla="*/ 175298 h 791555"/>
                <a:gd name="connsiteX24" fmla="*/ 369861 w 707402"/>
                <a:gd name="connsiteY24" fmla="*/ 167763 h 791555"/>
                <a:gd name="connsiteX25" fmla="*/ 202476 w 707402"/>
                <a:gd name="connsiteY25" fmla="*/ 167205 h 791555"/>
                <a:gd name="connsiteX26" fmla="*/ 189943 w 707402"/>
                <a:gd name="connsiteY26" fmla="*/ 180043 h 791555"/>
                <a:gd name="connsiteX27" fmla="*/ 189943 w 707402"/>
                <a:gd name="connsiteY27" fmla="*/ 291126 h 79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07402" h="791555">
                  <a:moveTo>
                    <a:pt x="0" y="395789"/>
                  </a:moveTo>
                  <a:cubicBezTo>
                    <a:pt x="0" y="269635"/>
                    <a:pt x="0" y="143481"/>
                    <a:pt x="0" y="17048"/>
                  </a:cubicBezTo>
                  <a:cubicBezTo>
                    <a:pt x="0" y="301"/>
                    <a:pt x="0" y="301"/>
                    <a:pt x="16432" y="301"/>
                  </a:cubicBezTo>
                  <a:cubicBezTo>
                    <a:pt x="136191" y="301"/>
                    <a:pt x="255950" y="-536"/>
                    <a:pt x="375709" y="581"/>
                  </a:cubicBezTo>
                  <a:cubicBezTo>
                    <a:pt x="441438" y="1139"/>
                    <a:pt x="506052" y="10628"/>
                    <a:pt x="565931" y="40771"/>
                  </a:cubicBezTo>
                  <a:cubicBezTo>
                    <a:pt x="643914" y="80125"/>
                    <a:pt x="687640" y="144318"/>
                    <a:pt x="701844" y="229165"/>
                  </a:cubicBezTo>
                  <a:cubicBezTo>
                    <a:pt x="710478" y="282195"/>
                    <a:pt x="709642" y="335503"/>
                    <a:pt x="695160" y="387416"/>
                  </a:cubicBezTo>
                  <a:cubicBezTo>
                    <a:pt x="672322" y="469751"/>
                    <a:pt x="618848" y="524455"/>
                    <a:pt x="540308" y="555156"/>
                  </a:cubicBezTo>
                  <a:cubicBezTo>
                    <a:pt x="494633" y="573019"/>
                    <a:pt x="447286" y="580555"/>
                    <a:pt x="398547" y="582788"/>
                  </a:cubicBezTo>
                  <a:cubicBezTo>
                    <a:pt x="333376" y="585858"/>
                    <a:pt x="268483" y="583625"/>
                    <a:pt x="203312" y="584183"/>
                  </a:cubicBezTo>
                  <a:cubicBezTo>
                    <a:pt x="192729" y="584183"/>
                    <a:pt x="189108" y="587253"/>
                    <a:pt x="189386" y="598138"/>
                  </a:cubicBezTo>
                  <a:cubicBezTo>
                    <a:pt x="189943" y="657308"/>
                    <a:pt x="189386" y="716477"/>
                    <a:pt x="189386" y="775926"/>
                  </a:cubicBezTo>
                  <a:cubicBezTo>
                    <a:pt x="189386" y="791556"/>
                    <a:pt x="189386" y="791556"/>
                    <a:pt x="174347" y="791556"/>
                  </a:cubicBezTo>
                  <a:cubicBezTo>
                    <a:pt x="121152" y="791556"/>
                    <a:pt x="67956" y="791556"/>
                    <a:pt x="14483" y="791556"/>
                  </a:cubicBezTo>
                  <a:cubicBezTo>
                    <a:pt x="0" y="791556"/>
                    <a:pt x="0" y="791556"/>
                    <a:pt x="0" y="776484"/>
                  </a:cubicBezTo>
                  <a:cubicBezTo>
                    <a:pt x="0" y="649493"/>
                    <a:pt x="0" y="522501"/>
                    <a:pt x="0" y="395510"/>
                  </a:cubicBezTo>
                  <a:close/>
                  <a:moveTo>
                    <a:pt x="189665" y="291126"/>
                  </a:moveTo>
                  <a:cubicBezTo>
                    <a:pt x="189665" y="327688"/>
                    <a:pt x="189943" y="364251"/>
                    <a:pt x="189665" y="401092"/>
                  </a:cubicBezTo>
                  <a:cubicBezTo>
                    <a:pt x="189665" y="412256"/>
                    <a:pt x="192450" y="415884"/>
                    <a:pt x="203869" y="415605"/>
                  </a:cubicBezTo>
                  <a:cubicBezTo>
                    <a:pt x="259014" y="415047"/>
                    <a:pt x="313880" y="415326"/>
                    <a:pt x="369025" y="415605"/>
                  </a:cubicBezTo>
                  <a:cubicBezTo>
                    <a:pt x="386850" y="415605"/>
                    <a:pt x="404396" y="414210"/>
                    <a:pt x="421942" y="410582"/>
                  </a:cubicBezTo>
                  <a:cubicBezTo>
                    <a:pt x="461769" y="402488"/>
                    <a:pt x="494076" y="384346"/>
                    <a:pt x="509672" y="344155"/>
                  </a:cubicBezTo>
                  <a:cubicBezTo>
                    <a:pt x="518028" y="322664"/>
                    <a:pt x="518585" y="300057"/>
                    <a:pt x="517192" y="277450"/>
                  </a:cubicBezTo>
                  <a:cubicBezTo>
                    <a:pt x="514129" y="223025"/>
                    <a:pt x="485721" y="188974"/>
                    <a:pt x="433361" y="175298"/>
                  </a:cubicBezTo>
                  <a:cubicBezTo>
                    <a:pt x="412473" y="169716"/>
                    <a:pt x="391027" y="168042"/>
                    <a:pt x="369861" y="167763"/>
                  </a:cubicBezTo>
                  <a:cubicBezTo>
                    <a:pt x="314159" y="166925"/>
                    <a:pt x="258178" y="167763"/>
                    <a:pt x="202476" y="167205"/>
                  </a:cubicBezTo>
                  <a:cubicBezTo>
                    <a:pt x="192450" y="167205"/>
                    <a:pt x="189943" y="170554"/>
                    <a:pt x="189943" y="180043"/>
                  </a:cubicBezTo>
                  <a:cubicBezTo>
                    <a:pt x="190501" y="217164"/>
                    <a:pt x="189943" y="254005"/>
                    <a:pt x="189943" y="291126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57">
              <a:extLst>
                <a:ext uri="{FF2B5EF4-FFF2-40B4-BE49-F238E27FC236}">
                  <a16:creationId xmlns:a16="http://schemas.microsoft.com/office/drawing/2014/main" id="{899CE4BD-13A6-34E8-5B7B-408B07ABF7DC}"/>
                </a:ext>
              </a:extLst>
            </p:cNvPr>
            <p:cNvSpPr/>
            <p:nvPr/>
          </p:nvSpPr>
          <p:spPr>
            <a:xfrm>
              <a:off x="4483771" y="1396374"/>
              <a:ext cx="84385" cy="97202"/>
            </a:xfrm>
            <a:custGeom>
              <a:avLst/>
              <a:gdLst>
                <a:gd name="connsiteX0" fmla="*/ 519302 w 710541"/>
                <a:gd name="connsiteY0" fmla="*/ 254541 h 809232"/>
                <a:gd name="connsiteX1" fmla="*/ 519302 w 710541"/>
                <a:gd name="connsiteY1" fmla="*/ 17025 h 809232"/>
                <a:gd name="connsiteX2" fmla="*/ 536013 w 710541"/>
                <a:gd name="connsiteY2" fmla="*/ 0 h 809232"/>
                <a:gd name="connsiteX3" fmla="*/ 694763 w 710541"/>
                <a:gd name="connsiteY3" fmla="*/ 0 h 809232"/>
                <a:gd name="connsiteX4" fmla="*/ 710360 w 710541"/>
                <a:gd name="connsiteY4" fmla="*/ 15909 h 809232"/>
                <a:gd name="connsiteX5" fmla="*/ 710081 w 710541"/>
                <a:gd name="connsiteY5" fmla="*/ 460239 h 809232"/>
                <a:gd name="connsiteX6" fmla="*/ 686965 w 710541"/>
                <a:gd name="connsiteY6" fmla="*/ 624351 h 809232"/>
                <a:gd name="connsiteX7" fmla="*/ 506491 w 710541"/>
                <a:gd name="connsiteY7" fmla="*/ 791254 h 809232"/>
                <a:gd name="connsiteX8" fmla="*/ 307635 w 710541"/>
                <a:gd name="connsiteY8" fmla="*/ 807442 h 809232"/>
                <a:gd name="connsiteX9" fmla="*/ 199573 w 710541"/>
                <a:gd name="connsiteY9" fmla="*/ 790417 h 809232"/>
                <a:gd name="connsiteX10" fmla="*/ 15757 w 710541"/>
                <a:gd name="connsiteY10" fmla="*/ 596441 h 809232"/>
                <a:gd name="connsiteX11" fmla="*/ 1831 w 710541"/>
                <a:gd name="connsiteY11" fmla="*/ 484521 h 809232"/>
                <a:gd name="connsiteX12" fmla="*/ 160 w 710541"/>
                <a:gd name="connsiteY12" fmla="*/ 19258 h 809232"/>
                <a:gd name="connsiteX13" fmla="*/ 19099 w 710541"/>
                <a:gd name="connsiteY13" fmla="*/ 279 h 809232"/>
                <a:gd name="connsiteX14" fmla="*/ 174507 w 710541"/>
                <a:gd name="connsiteY14" fmla="*/ 279 h 809232"/>
                <a:gd name="connsiteX15" fmla="*/ 189268 w 710541"/>
                <a:gd name="connsiteY15" fmla="*/ 15351 h 809232"/>
                <a:gd name="connsiteX16" fmla="*/ 189268 w 710541"/>
                <a:gd name="connsiteY16" fmla="*/ 467217 h 809232"/>
                <a:gd name="connsiteX17" fmla="*/ 197624 w 710541"/>
                <a:gd name="connsiteY17" fmla="*/ 540900 h 809232"/>
                <a:gd name="connsiteX18" fmla="*/ 302065 w 710541"/>
                <a:gd name="connsiteY18" fmla="*/ 640818 h 809232"/>
                <a:gd name="connsiteX19" fmla="*/ 417368 w 710541"/>
                <a:gd name="connsiteY19" fmla="*/ 638586 h 809232"/>
                <a:gd name="connsiteX20" fmla="*/ 514289 w 710541"/>
                <a:gd name="connsiteY20" fmla="*/ 530015 h 809232"/>
                <a:gd name="connsiteX21" fmla="*/ 519302 w 710541"/>
                <a:gd name="connsiteY21" fmla="*/ 467217 h 809232"/>
                <a:gd name="connsiteX22" fmla="*/ 519302 w 710541"/>
                <a:gd name="connsiteY22" fmla="*/ 255099 h 80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10541" h="809232">
                  <a:moveTo>
                    <a:pt x="519302" y="254541"/>
                  </a:moveTo>
                  <a:cubicBezTo>
                    <a:pt x="519302" y="175276"/>
                    <a:pt x="519302" y="96011"/>
                    <a:pt x="519302" y="17025"/>
                  </a:cubicBezTo>
                  <a:cubicBezTo>
                    <a:pt x="519302" y="558"/>
                    <a:pt x="519859" y="0"/>
                    <a:pt x="536013" y="0"/>
                  </a:cubicBezTo>
                  <a:cubicBezTo>
                    <a:pt x="588930" y="0"/>
                    <a:pt x="641846" y="0"/>
                    <a:pt x="694763" y="0"/>
                  </a:cubicBezTo>
                  <a:cubicBezTo>
                    <a:pt x="709524" y="0"/>
                    <a:pt x="710360" y="837"/>
                    <a:pt x="710360" y="15909"/>
                  </a:cubicBezTo>
                  <a:cubicBezTo>
                    <a:pt x="710360" y="164112"/>
                    <a:pt x="710917" y="312036"/>
                    <a:pt x="710081" y="460239"/>
                  </a:cubicBezTo>
                  <a:cubicBezTo>
                    <a:pt x="709803" y="515781"/>
                    <a:pt x="704790" y="571043"/>
                    <a:pt x="686965" y="624351"/>
                  </a:cubicBezTo>
                  <a:cubicBezTo>
                    <a:pt x="657443" y="713385"/>
                    <a:pt x="595892" y="767531"/>
                    <a:pt x="506491" y="791254"/>
                  </a:cubicBezTo>
                  <a:cubicBezTo>
                    <a:pt x="441320" y="808559"/>
                    <a:pt x="374756" y="811908"/>
                    <a:pt x="307635" y="807442"/>
                  </a:cubicBezTo>
                  <a:cubicBezTo>
                    <a:pt x="270872" y="805210"/>
                    <a:pt x="234944" y="800186"/>
                    <a:pt x="199573" y="790417"/>
                  </a:cubicBezTo>
                  <a:cubicBezTo>
                    <a:pt x="99867" y="762507"/>
                    <a:pt x="39709" y="696639"/>
                    <a:pt x="15757" y="596441"/>
                  </a:cubicBezTo>
                  <a:cubicBezTo>
                    <a:pt x="7123" y="559600"/>
                    <a:pt x="2946" y="522200"/>
                    <a:pt x="1831" y="484521"/>
                  </a:cubicBezTo>
                  <a:cubicBezTo>
                    <a:pt x="-1789" y="329340"/>
                    <a:pt x="1275" y="174439"/>
                    <a:pt x="160" y="19258"/>
                  </a:cubicBezTo>
                  <a:cubicBezTo>
                    <a:pt x="160" y="279"/>
                    <a:pt x="160" y="279"/>
                    <a:pt x="19099" y="279"/>
                  </a:cubicBezTo>
                  <a:cubicBezTo>
                    <a:pt x="70902" y="279"/>
                    <a:pt x="122705" y="279"/>
                    <a:pt x="174507" y="279"/>
                  </a:cubicBezTo>
                  <a:cubicBezTo>
                    <a:pt x="188990" y="279"/>
                    <a:pt x="189268" y="837"/>
                    <a:pt x="189268" y="15351"/>
                  </a:cubicBezTo>
                  <a:cubicBezTo>
                    <a:pt x="189268" y="166066"/>
                    <a:pt x="189268" y="316781"/>
                    <a:pt x="189268" y="467217"/>
                  </a:cubicBezTo>
                  <a:cubicBezTo>
                    <a:pt x="189268" y="492057"/>
                    <a:pt x="192054" y="516618"/>
                    <a:pt x="197624" y="540900"/>
                  </a:cubicBezTo>
                  <a:cubicBezTo>
                    <a:pt x="210714" y="596999"/>
                    <a:pt x="245527" y="630771"/>
                    <a:pt x="302065" y="640818"/>
                  </a:cubicBezTo>
                  <a:cubicBezTo>
                    <a:pt x="340499" y="647517"/>
                    <a:pt x="379212" y="647238"/>
                    <a:pt x="417368" y="638586"/>
                  </a:cubicBezTo>
                  <a:cubicBezTo>
                    <a:pt x="475019" y="625468"/>
                    <a:pt x="503706" y="585835"/>
                    <a:pt x="514289" y="530015"/>
                  </a:cubicBezTo>
                  <a:cubicBezTo>
                    <a:pt x="518188" y="509082"/>
                    <a:pt x="519302" y="488150"/>
                    <a:pt x="519302" y="467217"/>
                  </a:cubicBezTo>
                  <a:cubicBezTo>
                    <a:pt x="519302" y="396604"/>
                    <a:pt x="519302" y="325712"/>
                    <a:pt x="519302" y="255099"/>
                  </a:cubicBezTo>
                  <a:close/>
                </a:path>
              </a:pathLst>
            </a:custGeom>
            <a:solidFill>
              <a:srgbClr val="466086"/>
            </a:solidFill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96DD316-66A9-615E-2B51-BAC927E615D6}"/>
              </a:ext>
            </a:extLst>
          </p:cNvPr>
          <p:cNvSpPr/>
          <p:nvPr/>
        </p:nvSpPr>
        <p:spPr>
          <a:xfrm>
            <a:off x="605013" y="1113344"/>
            <a:ext cx="5148000" cy="1067206"/>
          </a:xfrm>
          <a:prstGeom prst="round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BF216A0-D239-4EEF-A533-5AD8827FF032}"/>
              </a:ext>
            </a:extLst>
          </p:cNvPr>
          <p:cNvSpPr/>
          <p:nvPr/>
        </p:nvSpPr>
        <p:spPr>
          <a:xfrm>
            <a:off x="10150739" y="1618168"/>
            <a:ext cx="844753" cy="790575"/>
          </a:xfrm>
          <a:prstGeom prst="round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4F1818-F8A8-D01D-9B7C-C506ED1E7AD3}"/>
              </a:ext>
            </a:extLst>
          </p:cNvPr>
          <p:cNvSpPr/>
          <p:nvPr/>
        </p:nvSpPr>
        <p:spPr>
          <a:xfrm>
            <a:off x="788640" y="1509037"/>
            <a:ext cx="10044000" cy="7905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tes experienced with research in adolescence and pregnancy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xpert investigators to lead responses to Ethics Committee/Institutional Review Board question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6BFFF0-AC9B-250F-3120-8189A4BE87D2}"/>
              </a:ext>
            </a:extLst>
          </p:cNvPr>
          <p:cNvSpPr txBox="1"/>
          <p:nvPr/>
        </p:nvSpPr>
        <p:spPr>
          <a:xfrm>
            <a:off x="789801" y="1126524"/>
            <a:ext cx="4429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rtnership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2C8B9D3-D385-9BED-C359-F079261CE994}"/>
              </a:ext>
            </a:extLst>
          </p:cNvPr>
          <p:cNvSpPr/>
          <p:nvPr/>
        </p:nvSpPr>
        <p:spPr>
          <a:xfrm>
            <a:off x="603829" y="2440350"/>
            <a:ext cx="5148000" cy="8037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1087F0F-4079-DAD5-ABC7-8DE9C8B8EAC5}"/>
              </a:ext>
            </a:extLst>
          </p:cNvPr>
          <p:cNvSpPr/>
          <p:nvPr/>
        </p:nvSpPr>
        <p:spPr>
          <a:xfrm>
            <a:off x="10150643" y="2945174"/>
            <a:ext cx="844850" cy="50401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A774B9-8C61-4DE9-45CA-1298388F41A7}"/>
              </a:ext>
            </a:extLst>
          </p:cNvPr>
          <p:cNvSpPr/>
          <p:nvPr/>
        </p:nvSpPr>
        <p:spPr>
          <a:xfrm>
            <a:off x="788640" y="2836043"/>
            <a:ext cx="10044000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dvocacy from community groups, including young wome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3499F97-444B-1833-0275-A51A7909222D}"/>
              </a:ext>
            </a:extLst>
          </p:cNvPr>
          <p:cNvSpPr txBox="1"/>
          <p:nvPr/>
        </p:nvSpPr>
        <p:spPr>
          <a:xfrm>
            <a:off x="788638" y="2453530"/>
            <a:ext cx="4962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oice of the people (PWBP and G-CAGs) 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6D8F0E6-D33D-6A68-EF04-6E31E08C318F}"/>
              </a:ext>
            </a:extLst>
          </p:cNvPr>
          <p:cNvSpPr/>
          <p:nvPr/>
        </p:nvSpPr>
        <p:spPr>
          <a:xfrm>
            <a:off x="603828" y="3480794"/>
            <a:ext cx="5148000" cy="1342364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C077BEF-F1FB-5495-C1A3-0CB2F88ECE67}"/>
              </a:ext>
            </a:extLst>
          </p:cNvPr>
          <p:cNvSpPr/>
          <p:nvPr/>
        </p:nvSpPr>
        <p:spPr>
          <a:xfrm>
            <a:off x="10150642" y="4115777"/>
            <a:ext cx="844850" cy="994409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EF8A10E-DD26-4809-F51B-6849E8E8B03C}"/>
              </a:ext>
            </a:extLst>
          </p:cNvPr>
          <p:cNvSpPr/>
          <p:nvPr/>
        </p:nvSpPr>
        <p:spPr>
          <a:xfrm>
            <a:off x="788640" y="3903597"/>
            <a:ext cx="10044000" cy="1069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rovision of contraceptives, if desired, supporting people’s reproductive choic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ntinuation on study with reconsent for those who become pregna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rovision of child care to facilitate visi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inimization of PK maternal and infant sampling burd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1B87E48-DF03-A190-841A-FFD0F26F6334}"/>
              </a:ext>
            </a:extLst>
          </p:cNvPr>
          <p:cNvSpPr txBox="1"/>
          <p:nvPr/>
        </p:nvSpPr>
        <p:spPr>
          <a:xfrm>
            <a:off x="788638" y="3497372"/>
            <a:ext cx="4962916" cy="812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erson-centric study design, includ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C608241-A35B-60E3-96C2-5C67A1980B73}"/>
              </a:ext>
            </a:extLst>
          </p:cNvPr>
          <p:cNvSpPr/>
          <p:nvPr/>
        </p:nvSpPr>
        <p:spPr>
          <a:xfrm>
            <a:off x="605013" y="5141792"/>
            <a:ext cx="5148000" cy="802800"/>
          </a:xfrm>
          <a:prstGeom prst="roundRect">
            <a:avLst/>
          </a:prstGeom>
          <a:solidFill>
            <a:srgbClr val="537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CE2DEA3-63AB-8AA1-6E0A-9FB84166D17A}"/>
              </a:ext>
            </a:extLst>
          </p:cNvPr>
          <p:cNvSpPr/>
          <p:nvPr/>
        </p:nvSpPr>
        <p:spPr>
          <a:xfrm>
            <a:off x="10150739" y="5646616"/>
            <a:ext cx="844753" cy="504000"/>
          </a:xfrm>
          <a:prstGeom prst="roundRect">
            <a:avLst/>
          </a:prstGeom>
          <a:solidFill>
            <a:srgbClr val="537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2B7D467-E8BB-0C9D-EEBD-68338C84FAB7}"/>
              </a:ext>
            </a:extLst>
          </p:cNvPr>
          <p:cNvSpPr/>
          <p:nvPr/>
        </p:nvSpPr>
        <p:spPr>
          <a:xfrm>
            <a:off x="788640" y="5537486"/>
            <a:ext cx="10044000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upport for reproductive choices for all persons assigned female at birth with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eproductive potentia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F132742-FDFA-3989-0BE4-E0E0A0283C28}"/>
              </a:ext>
            </a:extLst>
          </p:cNvPr>
          <p:cNvSpPr txBox="1"/>
          <p:nvPr/>
        </p:nvSpPr>
        <p:spPr>
          <a:xfrm>
            <a:off x="789801" y="5154972"/>
            <a:ext cx="4429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versity, equity, inclusion: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CCC6A84-4711-7EAC-D182-8268EEBF24CF}"/>
              </a:ext>
            </a:extLst>
          </p:cNvPr>
          <p:cNvGrpSpPr>
            <a:grpSpLocks noChangeAspect="1"/>
          </p:cNvGrpSpPr>
          <p:nvPr/>
        </p:nvGrpSpPr>
        <p:grpSpPr>
          <a:xfrm>
            <a:off x="11181207" y="1593966"/>
            <a:ext cx="647853" cy="670870"/>
            <a:chOff x="8660003" y="3714589"/>
            <a:chExt cx="485390" cy="502638"/>
          </a:xfrm>
        </p:grpSpPr>
        <p:sp>
          <p:nvSpPr>
            <p:cNvPr id="37" name="Freeform 387">
              <a:extLst>
                <a:ext uri="{FF2B5EF4-FFF2-40B4-BE49-F238E27FC236}">
                  <a16:creationId xmlns:a16="http://schemas.microsoft.com/office/drawing/2014/main" id="{798ADB39-0937-D322-6FBC-1878D86C32C5}"/>
                </a:ext>
              </a:extLst>
            </p:cNvPr>
            <p:cNvSpPr/>
            <p:nvPr/>
          </p:nvSpPr>
          <p:spPr>
            <a:xfrm>
              <a:off x="9059736" y="3821210"/>
              <a:ext cx="72332" cy="72349"/>
            </a:xfrm>
            <a:custGeom>
              <a:avLst/>
              <a:gdLst>
                <a:gd name="connsiteX0" fmla="*/ 72333 w 72332"/>
                <a:gd name="connsiteY0" fmla="*/ 36175 h 72349"/>
                <a:gd name="connsiteX1" fmla="*/ 36166 w 72332"/>
                <a:gd name="connsiteY1" fmla="*/ 72349 h 72349"/>
                <a:gd name="connsiteX2" fmla="*/ 0 w 72332"/>
                <a:gd name="connsiteY2" fmla="*/ 36175 h 72349"/>
                <a:gd name="connsiteX3" fmla="*/ 36166 w 72332"/>
                <a:gd name="connsiteY3" fmla="*/ 0 h 72349"/>
                <a:gd name="connsiteX4" fmla="*/ 72333 w 72332"/>
                <a:gd name="connsiteY4" fmla="*/ 36175 h 7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32" h="72349">
                  <a:moveTo>
                    <a:pt x="72333" y="36175"/>
                  </a:moveTo>
                  <a:cubicBezTo>
                    <a:pt x="72333" y="56154"/>
                    <a:pt x="56141" y="72349"/>
                    <a:pt x="36166" y="72349"/>
                  </a:cubicBezTo>
                  <a:cubicBezTo>
                    <a:pt x="16192" y="72349"/>
                    <a:pt x="0" y="56153"/>
                    <a:pt x="0" y="36175"/>
                  </a:cubicBezTo>
                  <a:cubicBezTo>
                    <a:pt x="0" y="16196"/>
                    <a:pt x="16192" y="0"/>
                    <a:pt x="36166" y="0"/>
                  </a:cubicBezTo>
                  <a:cubicBezTo>
                    <a:pt x="56141" y="0"/>
                    <a:pt x="72333" y="16196"/>
                    <a:pt x="72333" y="36175"/>
                  </a:cubicBezTo>
                  <a:close/>
                </a:path>
              </a:pathLst>
            </a:custGeom>
            <a:noFill/>
            <a:ln w="19050" cap="flat">
              <a:solidFill>
                <a:srgbClr val="00CC9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388">
              <a:extLst>
                <a:ext uri="{FF2B5EF4-FFF2-40B4-BE49-F238E27FC236}">
                  <a16:creationId xmlns:a16="http://schemas.microsoft.com/office/drawing/2014/main" id="{1921183C-6666-E6EE-FC57-34084E7B3B96}"/>
                </a:ext>
              </a:extLst>
            </p:cNvPr>
            <p:cNvSpPr/>
            <p:nvPr/>
          </p:nvSpPr>
          <p:spPr>
            <a:xfrm>
              <a:off x="8980741" y="3921999"/>
              <a:ext cx="151327" cy="285708"/>
            </a:xfrm>
            <a:custGeom>
              <a:avLst/>
              <a:gdLst>
                <a:gd name="connsiteX0" fmla="*/ 118968 w 151327"/>
                <a:gd name="connsiteY0" fmla="*/ 119 h 285708"/>
                <a:gd name="connsiteX1" fmla="*/ 86609 w 151327"/>
                <a:gd name="connsiteY1" fmla="*/ 14398 h 285708"/>
                <a:gd name="connsiteX2" fmla="*/ 52346 w 151327"/>
                <a:gd name="connsiteY2" fmla="*/ 68661 h 285708"/>
                <a:gd name="connsiteX3" fmla="*/ 36167 w 151327"/>
                <a:gd name="connsiteY3" fmla="*/ 68661 h 285708"/>
                <a:gd name="connsiteX4" fmla="*/ 18083 w 151327"/>
                <a:gd name="connsiteY4" fmla="*/ 86748 h 285708"/>
                <a:gd name="connsiteX5" fmla="*/ 36167 w 151327"/>
                <a:gd name="connsiteY5" fmla="*/ 104835 h 285708"/>
                <a:gd name="connsiteX6" fmla="*/ 58057 w 151327"/>
                <a:gd name="connsiteY6" fmla="*/ 104835 h 285708"/>
                <a:gd name="connsiteX7" fmla="*/ 68526 w 151327"/>
                <a:gd name="connsiteY7" fmla="*/ 101027 h 285708"/>
                <a:gd name="connsiteX8" fmla="*/ 79947 w 151327"/>
                <a:gd name="connsiteY8" fmla="*/ 78180 h 285708"/>
                <a:gd name="connsiteX9" fmla="*/ 79947 w 151327"/>
                <a:gd name="connsiteY9" fmla="*/ 140058 h 285708"/>
                <a:gd name="connsiteX10" fmla="*/ 18083 w 151327"/>
                <a:gd name="connsiteY10" fmla="*/ 140058 h 285708"/>
                <a:gd name="connsiteX11" fmla="*/ 0 w 151327"/>
                <a:gd name="connsiteY11" fmla="*/ 158145 h 285708"/>
                <a:gd name="connsiteX12" fmla="*/ 0 w 151327"/>
                <a:gd name="connsiteY12" fmla="*/ 267622 h 285708"/>
                <a:gd name="connsiteX13" fmla="*/ 18083 w 151327"/>
                <a:gd name="connsiteY13" fmla="*/ 285709 h 285708"/>
                <a:gd name="connsiteX14" fmla="*/ 36167 w 151327"/>
                <a:gd name="connsiteY14" fmla="*/ 267622 h 285708"/>
                <a:gd name="connsiteX15" fmla="*/ 36167 w 151327"/>
                <a:gd name="connsiteY15" fmla="*/ 176233 h 285708"/>
                <a:gd name="connsiteX16" fmla="*/ 79947 w 151327"/>
                <a:gd name="connsiteY16" fmla="*/ 176233 h 285708"/>
                <a:gd name="connsiteX17" fmla="*/ 115162 w 151327"/>
                <a:gd name="connsiteY17" fmla="*/ 176233 h 285708"/>
                <a:gd name="connsiteX18" fmla="*/ 151328 w 151327"/>
                <a:gd name="connsiteY18" fmla="*/ 140058 h 285708"/>
                <a:gd name="connsiteX19" fmla="*/ 151328 w 151327"/>
                <a:gd name="connsiteY19" fmla="*/ 37246 h 285708"/>
                <a:gd name="connsiteX20" fmla="*/ 118968 w 151327"/>
                <a:gd name="connsiteY20" fmla="*/ 119 h 28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1327" h="285708">
                  <a:moveTo>
                    <a:pt x="118968" y="119"/>
                  </a:moveTo>
                  <a:cubicBezTo>
                    <a:pt x="106596" y="-833"/>
                    <a:pt x="94223" y="3927"/>
                    <a:pt x="86609" y="14398"/>
                  </a:cubicBezTo>
                  <a:lnTo>
                    <a:pt x="52346" y="68661"/>
                  </a:lnTo>
                  <a:lnTo>
                    <a:pt x="36167" y="68661"/>
                  </a:lnTo>
                  <a:cubicBezTo>
                    <a:pt x="26649" y="68661"/>
                    <a:pt x="18083" y="76276"/>
                    <a:pt x="18083" y="86748"/>
                  </a:cubicBezTo>
                  <a:cubicBezTo>
                    <a:pt x="18083" y="97220"/>
                    <a:pt x="25697" y="104835"/>
                    <a:pt x="36167" y="104835"/>
                  </a:cubicBezTo>
                  <a:lnTo>
                    <a:pt x="58057" y="104835"/>
                  </a:lnTo>
                  <a:cubicBezTo>
                    <a:pt x="61863" y="104835"/>
                    <a:pt x="65671" y="103884"/>
                    <a:pt x="68526" y="101027"/>
                  </a:cubicBezTo>
                  <a:lnTo>
                    <a:pt x="79947" y="78180"/>
                  </a:lnTo>
                  <a:lnTo>
                    <a:pt x="79947" y="140058"/>
                  </a:lnTo>
                  <a:lnTo>
                    <a:pt x="18083" y="140058"/>
                  </a:lnTo>
                  <a:cubicBezTo>
                    <a:pt x="8566" y="140058"/>
                    <a:pt x="0" y="147674"/>
                    <a:pt x="0" y="158145"/>
                  </a:cubicBezTo>
                  <a:lnTo>
                    <a:pt x="0" y="267622"/>
                  </a:lnTo>
                  <a:cubicBezTo>
                    <a:pt x="0" y="277141"/>
                    <a:pt x="7614" y="285709"/>
                    <a:pt x="18083" y="285709"/>
                  </a:cubicBezTo>
                  <a:cubicBezTo>
                    <a:pt x="27601" y="285709"/>
                    <a:pt x="36167" y="278093"/>
                    <a:pt x="36167" y="267622"/>
                  </a:cubicBezTo>
                  <a:lnTo>
                    <a:pt x="36167" y="176233"/>
                  </a:lnTo>
                  <a:lnTo>
                    <a:pt x="79947" y="176233"/>
                  </a:lnTo>
                  <a:lnTo>
                    <a:pt x="115162" y="176233"/>
                  </a:lnTo>
                  <a:cubicBezTo>
                    <a:pt x="135148" y="176233"/>
                    <a:pt x="151328" y="160049"/>
                    <a:pt x="151328" y="140058"/>
                  </a:cubicBezTo>
                  <a:lnTo>
                    <a:pt x="151328" y="37246"/>
                  </a:lnTo>
                  <a:cubicBezTo>
                    <a:pt x="151328" y="18207"/>
                    <a:pt x="137052" y="2023"/>
                    <a:pt x="118968" y="119"/>
                  </a:cubicBezTo>
                  <a:close/>
                </a:path>
              </a:pathLst>
            </a:custGeom>
            <a:noFill/>
            <a:ln w="19050" cap="flat">
              <a:solidFill>
                <a:srgbClr val="00CC9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9">
              <a:extLst>
                <a:ext uri="{FF2B5EF4-FFF2-40B4-BE49-F238E27FC236}">
                  <a16:creationId xmlns:a16="http://schemas.microsoft.com/office/drawing/2014/main" id="{F08D9AAF-F869-B262-1B82-B27607451AEC}"/>
                </a:ext>
              </a:extLst>
            </p:cNvPr>
            <p:cNvSpPr/>
            <p:nvPr/>
          </p:nvSpPr>
          <p:spPr>
            <a:xfrm>
              <a:off x="9029280" y="3955437"/>
              <a:ext cx="116113" cy="148506"/>
            </a:xfrm>
            <a:custGeom>
              <a:avLst/>
              <a:gdLst>
                <a:gd name="connsiteX0" fmla="*/ 116113 w 116113"/>
                <a:gd name="connsiteY0" fmla="*/ 0 h 148506"/>
                <a:gd name="connsiteX1" fmla="*/ 116113 w 116113"/>
                <a:gd name="connsiteY1" fmla="*/ 148507 h 148506"/>
                <a:gd name="connsiteX2" fmla="*/ 0 w 116113"/>
                <a:gd name="connsiteY2" fmla="*/ 148507 h 14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113" h="148506">
                  <a:moveTo>
                    <a:pt x="116113" y="0"/>
                  </a:moveTo>
                  <a:lnTo>
                    <a:pt x="116113" y="148507"/>
                  </a:lnTo>
                  <a:lnTo>
                    <a:pt x="0" y="148507"/>
                  </a:lnTo>
                </a:path>
              </a:pathLst>
            </a:custGeom>
            <a:noFill/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0">
              <a:extLst>
                <a:ext uri="{FF2B5EF4-FFF2-40B4-BE49-F238E27FC236}">
                  <a16:creationId xmlns:a16="http://schemas.microsoft.com/office/drawing/2014/main" id="{D483420B-0BC5-E3FD-3D34-1E0838EA4A42}"/>
                </a:ext>
              </a:extLst>
            </p:cNvPr>
            <p:cNvSpPr/>
            <p:nvPr/>
          </p:nvSpPr>
          <p:spPr>
            <a:xfrm>
              <a:off x="9044508" y="4207708"/>
              <a:ext cx="85657" cy="9519"/>
            </a:xfrm>
            <a:custGeom>
              <a:avLst/>
              <a:gdLst>
                <a:gd name="connsiteX0" fmla="*/ 0 w 85657"/>
                <a:gd name="connsiteY0" fmla="*/ 0 h 9519"/>
                <a:gd name="connsiteX1" fmla="*/ 85657 w 85657"/>
                <a:gd name="connsiteY1" fmla="*/ 0 h 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57" h="9519">
                  <a:moveTo>
                    <a:pt x="0" y="0"/>
                  </a:moveTo>
                  <a:lnTo>
                    <a:pt x="85657" y="0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391">
              <a:extLst>
                <a:ext uri="{FF2B5EF4-FFF2-40B4-BE49-F238E27FC236}">
                  <a16:creationId xmlns:a16="http://schemas.microsoft.com/office/drawing/2014/main" id="{8B70B66C-2540-B6D6-F2D3-003093BD198A}"/>
                </a:ext>
              </a:extLst>
            </p:cNvPr>
            <p:cNvSpPr/>
            <p:nvPr/>
          </p:nvSpPr>
          <p:spPr>
            <a:xfrm>
              <a:off x="8766598" y="4029690"/>
              <a:ext cx="262681" cy="9519"/>
            </a:xfrm>
            <a:custGeom>
              <a:avLst/>
              <a:gdLst>
                <a:gd name="connsiteX0" fmla="*/ 0 w 262681"/>
                <a:gd name="connsiteY0" fmla="*/ 0 h 9519"/>
                <a:gd name="connsiteX1" fmla="*/ 262682 w 262681"/>
                <a:gd name="connsiteY1" fmla="*/ 0 h 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681" h="9519">
                  <a:moveTo>
                    <a:pt x="0" y="0"/>
                  </a:moveTo>
                  <a:lnTo>
                    <a:pt x="262682" y="0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392">
              <a:extLst>
                <a:ext uri="{FF2B5EF4-FFF2-40B4-BE49-F238E27FC236}">
                  <a16:creationId xmlns:a16="http://schemas.microsoft.com/office/drawing/2014/main" id="{F40DD35D-F7AD-67F4-B33A-67E949FC99F6}"/>
                </a:ext>
              </a:extLst>
            </p:cNvPr>
            <p:cNvSpPr/>
            <p:nvPr/>
          </p:nvSpPr>
          <p:spPr>
            <a:xfrm>
              <a:off x="9087337" y="4103944"/>
              <a:ext cx="9517" cy="100908"/>
            </a:xfrm>
            <a:custGeom>
              <a:avLst/>
              <a:gdLst>
                <a:gd name="connsiteX0" fmla="*/ 0 w 9517"/>
                <a:gd name="connsiteY0" fmla="*/ 0 h 100908"/>
                <a:gd name="connsiteX1" fmla="*/ 0 w 9517"/>
                <a:gd name="connsiteY1" fmla="*/ 100908 h 10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17" h="100908">
                  <a:moveTo>
                    <a:pt x="0" y="0"/>
                  </a:moveTo>
                  <a:lnTo>
                    <a:pt x="0" y="100908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393">
              <a:extLst>
                <a:ext uri="{FF2B5EF4-FFF2-40B4-BE49-F238E27FC236}">
                  <a16:creationId xmlns:a16="http://schemas.microsoft.com/office/drawing/2014/main" id="{DD6C3166-5485-3CD6-8525-0BA7CE51F4CD}"/>
                </a:ext>
              </a:extLst>
            </p:cNvPr>
            <p:cNvSpPr/>
            <p:nvPr/>
          </p:nvSpPr>
          <p:spPr>
            <a:xfrm>
              <a:off x="8859869" y="4207708"/>
              <a:ext cx="85657" cy="9519"/>
            </a:xfrm>
            <a:custGeom>
              <a:avLst/>
              <a:gdLst>
                <a:gd name="connsiteX0" fmla="*/ 0 w 85657"/>
                <a:gd name="connsiteY0" fmla="*/ 0 h 9519"/>
                <a:gd name="connsiteX1" fmla="*/ 85657 w 85657"/>
                <a:gd name="connsiteY1" fmla="*/ 0 h 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57" h="9519">
                  <a:moveTo>
                    <a:pt x="0" y="0"/>
                  </a:moveTo>
                  <a:lnTo>
                    <a:pt x="85657" y="0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 394">
              <a:extLst>
                <a:ext uri="{FF2B5EF4-FFF2-40B4-BE49-F238E27FC236}">
                  <a16:creationId xmlns:a16="http://schemas.microsoft.com/office/drawing/2014/main" id="{732916D9-AC75-4490-A0A0-03DEA1B274AF}"/>
                </a:ext>
              </a:extLst>
            </p:cNvPr>
            <p:cNvSpPr/>
            <p:nvPr/>
          </p:nvSpPr>
          <p:spPr>
            <a:xfrm>
              <a:off x="8902698" y="4029690"/>
              <a:ext cx="9517" cy="175161"/>
            </a:xfrm>
            <a:custGeom>
              <a:avLst/>
              <a:gdLst>
                <a:gd name="connsiteX0" fmla="*/ 0 w 9517"/>
                <a:gd name="connsiteY0" fmla="*/ 0 h 175161"/>
                <a:gd name="connsiteX1" fmla="*/ 0 w 9517"/>
                <a:gd name="connsiteY1" fmla="*/ 175162 h 17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17" h="175161">
                  <a:moveTo>
                    <a:pt x="0" y="0"/>
                  </a:moveTo>
                  <a:lnTo>
                    <a:pt x="0" y="175162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eform 395">
              <a:extLst>
                <a:ext uri="{FF2B5EF4-FFF2-40B4-BE49-F238E27FC236}">
                  <a16:creationId xmlns:a16="http://schemas.microsoft.com/office/drawing/2014/main" id="{C2080F19-489A-6B41-56AB-F1C1A0BF71AD}"/>
                </a:ext>
              </a:extLst>
            </p:cNvPr>
            <p:cNvSpPr/>
            <p:nvPr/>
          </p:nvSpPr>
          <p:spPr>
            <a:xfrm>
              <a:off x="8674279" y="3821210"/>
              <a:ext cx="72332" cy="72349"/>
            </a:xfrm>
            <a:custGeom>
              <a:avLst/>
              <a:gdLst>
                <a:gd name="connsiteX0" fmla="*/ 72333 w 72332"/>
                <a:gd name="connsiteY0" fmla="*/ 36175 h 72349"/>
                <a:gd name="connsiteX1" fmla="*/ 36166 w 72332"/>
                <a:gd name="connsiteY1" fmla="*/ 72349 h 72349"/>
                <a:gd name="connsiteX2" fmla="*/ 0 w 72332"/>
                <a:gd name="connsiteY2" fmla="*/ 36175 h 72349"/>
                <a:gd name="connsiteX3" fmla="*/ 36166 w 72332"/>
                <a:gd name="connsiteY3" fmla="*/ 0 h 72349"/>
                <a:gd name="connsiteX4" fmla="*/ 72333 w 72332"/>
                <a:gd name="connsiteY4" fmla="*/ 36175 h 7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32" h="72349">
                  <a:moveTo>
                    <a:pt x="72333" y="36175"/>
                  </a:moveTo>
                  <a:cubicBezTo>
                    <a:pt x="72333" y="56154"/>
                    <a:pt x="56141" y="72349"/>
                    <a:pt x="36166" y="72349"/>
                  </a:cubicBezTo>
                  <a:cubicBezTo>
                    <a:pt x="16192" y="72349"/>
                    <a:pt x="0" y="56153"/>
                    <a:pt x="0" y="36175"/>
                  </a:cubicBezTo>
                  <a:cubicBezTo>
                    <a:pt x="0" y="16196"/>
                    <a:pt x="16192" y="0"/>
                    <a:pt x="36166" y="0"/>
                  </a:cubicBezTo>
                  <a:cubicBezTo>
                    <a:pt x="56141" y="0"/>
                    <a:pt x="72333" y="16196"/>
                    <a:pt x="72333" y="36175"/>
                  </a:cubicBezTo>
                  <a:close/>
                </a:path>
              </a:pathLst>
            </a:custGeom>
            <a:noFill/>
            <a:ln w="19050" cap="flat">
              <a:solidFill>
                <a:srgbClr val="00CC9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396">
              <a:extLst>
                <a:ext uri="{FF2B5EF4-FFF2-40B4-BE49-F238E27FC236}">
                  <a16:creationId xmlns:a16="http://schemas.microsoft.com/office/drawing/2014/main" id="{BBD697C0-624F-F5CA-C557-3852569C9BF2}"/>
                </a:ext>
              </a:extLst>
            </p:cNvPr>
            <p:cNvSpPr/>
            <p:nvPr/>
          </p:nvSpPr>
          <p:spPr>
            <a:xfrm>
              <a:off x="8673327" y="3921999"/>
              <a:ext cx="151327" cy="285708"/>
            </a:xfrm>
            <a:custGeom>
              <a:avLst/>
              <a:gdLst>
                <a:gd name="connsiteX0" fmla="*/ 33311 w 151327"/>
                <a:gd name="connsiteY0" fmla="*/ 119 h 285708"/>
                <a:gd name="connsiteX1" fmla="*/ 65671 w 151327"/>
                <a:gd name="connsiteY1" fmla="*/ 14398 h 285708"/>
                <a:gd name="connsiteX2" fmla="*/ 99933 w 151327"/>
                <a:gd name="connsiteY2" fmla="*/ 68661 h 285708"/>
                <a:gd name="connsiteX3" fmla="*/ 116113 w 151327"/>
                <a:gd name="connsiteY3" fmla="*/ 68661 h 285708"/>
                <a:gd name="connsiteX4" fmla="*/ 134197 w 151327"/>
                <a:gd name="connsiteY4" fmla="*/ 86748 h 285708"/>
                <a:gd name="connsiteX5" fmla="*/ 116113 w 151327"/>
                <a:gd name="connsiteY5" fmla="*/ 104835 h 285708"/>
                <a:gd name="connsiteX6" fmla="*/ 94223 w 151327"/>
                <a:gd name="connsiteY6" fmla="*/ 104835 h 285708"/>
                <a:gd name="connsiteX7" fmla="*/ 83754 w 151327"/>
                <a:gd name="connsiteY7" fmla="*/ 101027 h 285708"/>
                <a:gd name="connsiteX8" fmla="*/ 72333 w 151327"/>
                <a:gd name="connsiteY8" fmla="*/ 78180 h 285708"/>
                <a:gd name="connsiteX9" fmla="*/ 72333 w 151327"/>
                <a:gd name="connsiteY9" fmla="*/ 140058 h 285708"/>
                <a:gd name="connsiteX10" fmla="*/ 133244 w 151327"/>
                <a:gd name="connsiteY10" fmla="*/ 140058 h 285708"/>
                <a:gd name="connsiteX11" fmla="*/ 151328 w 151327"/>
                <a:gd name="connsiteY11" fmla="*/ 158145 h 285708"/>
                <a:gd name="connsiteX12" fmla="*/ 151328 w 151327"/>
                <a:gd name="connsiteY12" fmla="*/ 267622 h 285708"/>
                <a:gd name="connsiteX13" fmla="*/ 133244 w 151327"/>
                <a:gd name="connsiteY13" fmla="*/ 285709 h 285708"/>
                <a:gd name="connsiteX14" fmla="*/ 115162 w 151327"/>
                <a:gd name="connsiteY14" fmla="*/ 267622 h 285708"/>
                <a:gd name="connsiteX15" fmla="*/ 115162 w 151327"/>
                <a:gd name="connsiteY15" fmla="*/ 176233 h 285708"/>
                <a:gd name="connsiteX16" fmla="*/ 71381 w 151327"/>
                <a:gd name="connsiteY16" fmla="*/ 176233 h 285708"/>
                <a:gd name="connsiteX17" fmla="*/ 36166 w 151327"/>
                <a:gd name="connsiteY17" fmla="*/ 176233 h 285708"/>
                <a:gd name="connsiteX18" fmla="*/ 0 w 151327"/>
                <a:gd name="connsiteY18" fmla="*/ 140058 h 285708"/>
                <a:gd name="connsiteX19" fmla="*/ 0 w 151327"/>
                <a:gd name="connsiteY19" fmla="*/ 37246 h 285708"/>
                <a:gd name="connsiteX20" fmla="*/ 33311 w 151327"/>
                <a:gd name="connsiteY20" fmla="*/ 119 h 28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1327" h="285708">
                  <a:moveTo>
                    <a:pt x="33311" y="119"/>
                  </a:moveTo>
                  <a:cubicBezTo>
                    <a:pt x="45684" y="-833"/>
                    <a:pt x="58057" y="3927"/>
                    <a:pt x="65671" y="14398"/>
                  </a:cubicBezTo>
                  <a:lnTo>
                    <a:pt x="99933" y="68661"/>
                  </a:lnTo>
                  <a:lnTo>
                    <a:pt x="116113" y="68661"/>
                  </a:lnTo>
                  <a:cubicBezTo>
                    <a:pt x="125631" y="68661"/>
                    <a:pt x="134197" y="76276"/>
                    <a:pt x="134197" y="86748"/>
                  </a:cubicBezTo>
                  <a:cubicBezTo>
                    <a:pt x="134197" y="97220"/>
                    <a:pt x="126582" y="104835"/>
                    <a:pt x="116113" y="104835"/>
                  </a:cubicBezTo>
                  <a:lnTo>
                    <a:pt x="94223" y="104835"/>
                  </a:lnTo>
                  <a:cubicBezTo>
                    <a:pt x="90416" y="104835"/>
                    <a:pt x="86609" y="103884"/>
                    <a:pt x="83754" y="101027"/>
                  </a:cubicBezTo>
                  <a:lnTo>
                    <a:pt x="72333" y="78180"/>
                  </a:lnTo>
                  <a:lnTo>
                    <a:pt x="72333" y="140058"/>
                  </a:lnTo>
                  <a:lnTo>
                    <a:pt x="133244" y="140058"/>
                  </a:lnTo>
                  <a:cubicBezTo>
                    <a:pt x="142762" y="140058"/>
                    <a:pt x="151328" y="147674"/>
                    <a:pt x="151328" y="158145"/>
                  </a:cubicBezTo>
                  <a:lnTo>
                    <a:pt x="151328" y="267622"/>
                  </a:lnTo>
                  <a:cubicBezTo>
                    <a:pt x="151328" y="277141"/>
                    <a:pt x="143714" y="285709"/>
                    <a:pt x="133244" y="285709"/>
                  </a:cubicBezTo>
                  <a:cubicBezTo>
                    <a:pt x="123727" y="285709"/>
                    <a:pt x="115162" y="278093"/>
                    <a:pt x="115162" y="267622"/>
                  </a:cubicBezTo>
                  <a:lnTo>
                    <a:pt x="115162" y="176233"/>
                  </a:lnTo>
                  <a:lnTo>
                    <a:pt x="71381" y="176233"/>
                  </a:lnTo>
                  <a:lnTo>
                    <a:pt x="36166" y="176233"/>
                  </a:lnTo>
                  <a:cubicBezTo>
                    <a:pt x="16180" y="176233"/>
                    <a:pt x="0" y="160049"/>
                    <a:pt x="0" y="140058"/>
                  </a:cubicBezTo>
                  <a:lnTo>
                    <a:pt x="0" y="37246"/>
                  </a:lnTo>
                  <a:cubicBezTo>
                    <a:pt x="952" y="18207"/>
                    <a:pt x="15228" y="2023"/>
                    <a:pt x="33311" y="119"/>
                  </a:cubicBezTo>
                  <a:close/>
                </a:path>
              </a:pathLst>
            </a:custGeom>
            <a:noFill/>
            <a:ln w="19050" cap="flat">
              <a:solidFill>
                <a:srgbClr val="00CC9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Freeform 397">
              <a:extLst>
                <a:ext uri="{FF2B5EF4-FFF2-40B4-BE49-F238E27FC236}">
                  <a16:creationId xmlns:a16="http://schemas.microsoft.com/office/drawing/2014/main" id="{7429E0C4-081C-0788-1629-EE3AF97FBC24}"/>
                </a:ext>
              </a:extLst>
            </p:cNvPr>
            <p:cNvSpPr/>
            <p:nvPr/>
          </p:nvSpPr>
          <p:spPr>
            <a:xfrm>
              <a:off x="8660003" y="3955437"/>
              <a:ext cx="116112" cy="148506"/>
            </a:xfrm>
            <a:custGeom>
              <a:avLst/>
              <a:gdLst>
                <a:gd name="connsiteX0" fmla="*/ 0 w 116112"/>
                <a:gd name="connsiteY0" fmla="*/ 0 h 148506"/>
                <a:gd name="connsiteX1" fmla="*/ 0 w 116112"/>
                <a:gd name="connsiteY1" fmla="*/ 148507 h 148506"/>
                <a:gd name="connsiteX2" fmla="*/ 116113 w 116112"/>
                <a:gd name="connsiteY2" fmla="*/ 148507 h 14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112" h="148506">
                  <a:moveTo>
                    <a:pt x="0" y="0"/>
                  </a:moveTo>
                  <a:lnTo>
                    <a:pt x="0" y="148507"/>
                  </a:lnTo>
                  <a:lnTo>
                    <a:pt x="116113" y="148507"/>
                  </a:lnTo>
                </a:path>
              </a:pathLst>
            </a:custGeom>
            <a:noFill/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Freeform 398">
              <a:extLst>
                <a:ext uri="{FF2B5EF4-FFF2-40B4-BE49-F238E27FC236}">
                  <a16:creationId xmlns:a16="http://schemas.microsoft.com/office/drawing/2014/main" id="{9F67A000-B7F0-D642-AE11-27E3536E0167}"/>
                </a:ext>
              </a:extLst>
            </p:cNvPr>
            <p:cNvSpPr/>
            <p:nvPr/>
          </p:nvSpPr>
          <p:spPr>
            <a:xfrm>
              <a:off x="8676182" y="4207708"/>
              <a:ext cx="85657" cy="9519"/>
            </a:xfrm>
            <a:custGeom>
              <a:avLst/>
              <a:gdLst>
                <a:gd name="connsiteX0" fmla="*/ 85657 w 85657"/>
                <a:gd name="connsiteY0" fmla="*/ 0 h 9519"/>
                <a:gd name="connsiteX1" fmla="*/ 0 w 85657"/>
                <a:gd name="connsiteY1" fmla="*/ 0 h 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57" h="9519">
                  <a:moveTo>
                    <a:pt x="85657" y="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399">
              <a:extLst>
                <a:ext uri="{FF2B5EF4-FFF2-40B4-BE49-F238E27FC236}">
                  <a16:creationId xmlns:a16="http://schemas.microsoft.com/office/drawing/2014/main" id="{D233DF13-B6B1-64AD-2DD6-41F776CBD258}"/>
                </a:ext>
              </a:extLst>
            </p:cNvPr>
            <p:cNvSpPr/>
            <p:nvPr/>
          </p:nvSpPr>
          <p:spPr>
            <a:xfrm>
              <a:off x="8719011" y="4103944"/>
              <a:ext cx="9517" cy="100908"/>
            </a:xfrm>
            <a:custGeom>
              <a:avLst/>
              <a:gdLst>
                <a:gd name="connsiteX0" fmla="*/ 0 w 9517"/>
                <a:gd name="connsiteY0" fmla="*/ 0 h 100908"/>
                <a:gd name="connsiteX1" fmla="*/ 0 w 9517"/>
                <a:gd name="connsiteY1" fmla="*/ 100908 h 10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17" h="100908">
                  <a:moveTo>
                    <a:pt x="0" y="0"/>
                  </a:moveTo>
                  <a:lnTo>
                    <a:pt x="0" y="100908"/>
                  </a:lnTo>
                </a:path>
              </a:pathLst>
            </a:custGeom>
            <a:ln w="19050" cap="rnd">
              <a:solidFill>
                <a:srgbClr val="00CC9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0" name="Graphic 1266">
              <a:extLst>
                <a:ext uri="{FF2B5EF4-FFF2-40B4-BE49-F238E27FC236}">
                  <a16:creationId xmlns:a16="http://schemas.microsoft.com/office/drawing/2014/main" id="{E4DD2156-4290-DBDE-EBC9-2873EB80DFC5}"/>
                </a:ext>
              </a:extLst>
            </p:cNvPr>
            <p:cNvGrpSpPr/>
            <p:nvPr/>
          </p:nvGrpSpPr>
          <p:grpSpPr>
            <a:xfrm>
              <a:off x="8746612" y="3714589"/>
              <a:ext cx="236455" cy="315101"/>
              <a:chOff x="8746612" y="3714589"/>
              <a:chExt cx="236455" cy="315101"/>
            </a:xfrm>
            <a:noFill/>
          </p:grpSpPr>
          <p:sp>
            <p:nvSpPr>
              <p:cNvPr id="51" name="Freeform 401">
                <a:extLst>
                  <a:ext uri="{FF2B5EF4-FFF2-40B4-BE49-F238E27FC236}">
                    <a16:creationId xmlns:a16="http://schemas.microsoft.com/office/drawing/2014/main" id="{0D3ED41C-3C41-6C06-CF1B-60B7D83A322B}"/>
                  </a:ext>
                </a:extLst>
              </p:cNvPr>
              <p:cNvSpPr/>
              <p:nvPr/>
            </p:nvSpPr>
            <p:spPr>
              <a:xfrm>
                <a:off x="8877001" y="3788843"/>
                <a:ext cx="57104" cy="57117"/>
              </a:xfrm>
              <a:custGeom>
                <a:avLst/>
                <a:gdLst>
                  <a:gd name="connsiteX0" fmla="*/ 57105 w 57104"/>
                  <a:gd name="connsiteY0" fmla="*/ 28559 h 57117"/>
                  <a:gd name="connsiteX1" fmla="*/ 28552 w 57104"/>
                  <a:gd name="connsiteY1" fmla="*/ 57118 h 57117"/>
                  <a:gd name="connsiteX2" fmla="*/ 0 w 57104"/>
                  <a:gd name="connsiteY2" fmla="*/ 28559 h 57117"/>
                  <a:gd name="connsiteX3" fmla="*/ 28552 w 57104"/>
                  <a:gd name="connsiteY3" fmla="*/ 0 h 57117"/>
                  <a:gd name="connsiteX4" fmla="*/ 57105 w 57104"/>
                  <a:gd name="connsiteY4" fmla="*/ 28559 h 57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04" h="57117">
                    <a:moveTo>
                      <a:pt x="57105" y="28559"/>
                    </a:moveTo>
                    <a:cubicBezTo>
                      <a:pt x="57105" y="44332"/>
                      <a:pt x="44322" y="57118"/>
                      <a:pt x="28552" y="57118"/>
                    </a:cubicBezTo>
                    <a:cubicBezTo>
                      <a:pt x="12783" y="57118"/>
                      <a:pt x="0" y="44332"/>
                      <a:pt x="0" y="28559"/>
                    </a:cubicBezTo>
                    <a:cubicBezTo>
                      <a:pt x="0" y="12786"/>
                      <a:pt x="12783" y="0"/>
                      <a:pt x="28552" y="0"/>
                    </a:cubicBezTo>
                    <a:cubicBezTo>
                      <a:pt x="44322" y="0"/>
                      <a:pt x="57105" y="12786"/>
                      <a:pt x="57105" y="28559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00CC9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2" name="Freeform 402">
                <a:extLst>
                  <a:ext uri="{FF2B5EF4-FFF2-40B4-BE49-F238E27FC236}">
                    <a16:creationId xmlns:a16="http://schemas.microsoft.com/office/drawing/2014/main" id="{ED337546-2FDE-6FD6-1EEC-7B4BB4448F56}"/>
                  </a:ext>
                </a:extLst>
              </p:cNvPr>
              <p:cNvSpPr/>
              <p:nvPr/>
            </p:nvSpPr>
            <p:spPr>
              <a:xfrm>
                <a:off x="8827025" y="3872616"/>
                <a:ext cx="156042" cy="157074"/>
              </a:xfrm>
              <a:custGeom>
                <a:avLst/>
                <a:gdLst>
                  <a:gd name="connsiteX0" fmla="*/ 114695 w 156042"/>
                  <a:gd name="connsiteY0" fmla="*/ 157074 h 157074"/>
                  <a:gd name="connsiteX1" fmla="*/ 133730 w 156042"/>
                  <a:gd name="connsiteY1" fmla="*/ 157074 h 157074"/>
                  <a:gd name="connsiteX2" fmla="*/ 107081 w 156042"/>
                  <a:gd name="connsiteY2" fmla="*/ 68541 h 157074"/>
                  <a:gd name="connsiteX3" fmla="*/ 107081 w 156042"/>
                  <a:gd name="connsiteY3" fmla="*/ 43791 h 157074"/>
                  <a:gd name="connsiteX4" fmla="*/ 128971 w 156042"/>
                  <a:gd name="connsiteY4" fmla="*/ 118996 h 157074"/>
                  <a:gd name="connsiteX5" fmla="*/ 142295 w 156042"/>
                  <a:gd name="connsiteY5" fmla="*/ 128515 h 157074"/>
                  <a:gd name="connsiteX6" fmla="*/ 146102 w 156042"/>
                  <a:gd name="connsiteY6" fmla="*/ 127563 h 157074"/>
                  <a:gd name="connsiteX7" fmla="*/ 155620 w 156042"/>
                  <a:gd name="connsiteY7" fmla="*/ 109476 h 157074"/>
                  <a:gd name="connsiteX8" fmla="*/ 129922 w 156042"/>
                  <a:gd name="connsiteY8" fmla="*/ 20943 h 157074"/>
                  <a:gd name="connsiteX9" fmla="*/ 124212 w 156042"/>
                  <a:gd name="connsiteY9" fmla="*/ 13327 h 157074"/>
                  <a:gd name="connsiteX10" fmla="*/ 94708 w 156042"/>
                  <a:gd name="connsiteY10" fmla="*/ 952 h 157074"/>
                  <a:gd name="connsiteX11" fmla="*/ 78528 w 156042"/>
                  <a:gd name="connsiteY11" fmla="*/ 0 h 157074"/>
                  <a:gd name="connsiteX12" fmla="*/ 62349 w 156042"/>
                  <a:gd name="connsiteY12" fmla="*/ 952 h 157074"/>
                  <a:gd name="connsiteX13" fmla="*/ 32845 w 156042"/>
                  <a:gd name="connsiteY13" fmla="*/ 13327 h 157074"/>
                  <a:gd name="connsiteX14" fmla="*/ 27134 w 156042"/>
                  <a:gd name="connsiteY14" fmla="*/ 20943 h 157074"/>
                  <a:gd name="connsiteX15" fmla="*/ 485 w 156042"/>
                  <a:gd name="connsiteY15" fmla="*/ 109476 h 157074"/>
                  <a:gd name="connsiteX16" fmla="*/ 10003 w 156042"/>
                  <a:gd name="connsiteY16" fmla="*/ 127563 h 157074"/>
                  <a:gd name="connsiteX17" fmla="*/ 13810 w 156042"/>
                  <a:gd name="connsiteY17" fmla="*/ 128515 h 157074"/>
                  <a:gd name="connsiteX18" fmla="*/ 27134 w 156042"/>
                  <a:gd name="connsiteY18" fmla="*/ 118996 h 157074"/>
                  <a:gd name="connsiteX19" fmla="*/ 49024 w 156042"/>
                  <a:gd name="connsiteY19" fmla="*/ 43791 h 157074"/>
                  <a:gd name="connsiteX20" fmla="*/ 49024 w 156042"/>
                  <a:gd name="connsiteY20" fmla="*/ 68541 h 157074"/>
                  <a:gd name="connsiteX21" fmla="*/ 22375 w 156042"/>
                  <a:gd name="connsiteY21" fmla="*/ 157074 h 157074"/>
                  <a:gd name="connsiteX22" fmla="*/ 41410 w 156042"/>
                  <a:gd name="connsiteY22" fmla="*/ 157074 h 157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56042" h="157074">
                    <a:moveTo>
                      <a:pt x="114695" y="157074"/>
                    </a:moveTo>
                    <a:lnTo>
                      <a:pt x="133730" y="157074"/>
                    </a:lnTo>
                    <a:lnTo>
                      <a:pt x="107081" y="68541"/>
                    </a:lnTo>
                    <a:lnTo>
                      <a:pt x="107081" y="43791"/>
                    </a:lnTo>
                    <a:lnTo>
                      <a:pt x="128971" y="118996"/>
                    </a:lnTo>
                    <a:cubicBezTo>
                      <a:pt x="130874" y="125659"/>
                      <a:pt x="136585" y="128515"/>
                      <a:pt x="142295" y="128515"/>
                    </a:cubicBezTo>
                    <a:cubicBezTo>
                      <a:pt x="143247" y="128515"/>
                      <a:pt x="145151" y="128515"/>
                      <a:pt x="146102" y="127563"/>
                    </a:cubicBezTo>
                    <a:cubicBezTo>
                      <a:pt x="152764" y="125659"/>
                      <a:pt x="157523" y="118044"/>
                      <a:pt x="155620" y="109476"/>
                    </a:cubicBezTo>
                    <a:lnTo>
                      <a:pt x="129922" y="20943"/>
                    </a:lnTo>
                    <a:cubicBezTo>
                      <a:pt x="128971" y="17135"/>
                      <a:pt x="127067" y="14279"/>
                      <a:pt x="124212" y="13327"/>
                    </a:cubicBezTo>
                    <a:cubicBezTo>
                      <a:pt x="115646" y="7616"/>
                      <a:pt x="106129" y="3808"/>
                      <a:pt x="94708" y="952"/>
                    </a:cubicBezTo>
                    <a:cubicBezTo>
                      <a:pt x="88997" y="0"/>
                      <a:pt x="84239" y="0"/>
                      <a:pt x="78528" y="0"/>
                    </a:cubicBezTo>
                    <a:cubicBezTo>
                      <a:pt x="72818" y="0"/>
                      <a:pt x="68059" y="952"/>
                      <a:pt x="62349" y="952"/>
                    </a:cubicBezTo>
                    <a:cubicBezTo>
                      <a:pt x="50928" y="2856"/>
                      <a:pt x="41410" y="7616"/>
                      <a:pt x="32845" y="13327"/>
                    </a:cubicBezTo>
                    <a:cubicBezTo>
                      <a:pt x="29989" y="15232"/>
                      <a:pt x="28086" y="18087"/>
                      <a:pt x="27134" y="20943"/>
                    </a:cubicBezTo>
                    <a:lnTo>
                      <a:pt x="485" y="109476"/>
                    </a:lnTo>
                    <a:cubicBezTo>
                      <a:pt x="-1419" y="117092"/>
                      <a:pt x="2389" y="125659"/>
                      <a:pt x="10003" y="127563"/>
                    </a:cubicBezTo>
                    <a:cubicBezTo>
                      <a:pt x="10954" y="128515"/>
                      <a:pt x="12858" y="128515"/>
                      <a:pt x="13810" y="128515"/>
                    </a:cubicBezTo>
                    <a:cubicBezTo>
                      <a:pt x="20472" y="128515"/>
                      <a:pt x="26182" y="123756"/>
                      <a:pt x="27134" y="118996"/>
                    </a:cubicBezTo>
                    <a:lnTo>
                      <a:pt x="49024" y="43791"/>
                    </a:lnTo>
                    <a:lnTo>
                      <a:pt x="49024" y="68541"/>
                    </a:lnTo>
                    <a:lnTo>
                      <a:pt x="22375" y="157074"/>
                    </a:lnTo>
                    <a:lnTo>
                      <a:pt x="41410" y="157074"/>
                    </a:lnTo>
                  </a:path>
                </a:pathLst>
              </a:custGeom>
              <a:noFill/>
              <a:ln w="19050" cap="rnd">
                <a:solidFill>
                  <a:srgbClr val="00CC9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3" name="Freeform 403">
                <a:extLst>
                  <a:ext uri="{FF2B5EF4-FFF2-40B4-BE49-F238E27FC236}">
                    <a16:creationId xmlns:a16="http://schemas.microsoft.com/office/drawing/2014/main" id="{90B8192E-8068-D88B-BB9D-9A46CC4088E8}"/>
                  </a:ext>
                </a:extLst>
              </p:cNvPr>
              <p:cNvSpPr/>
              <p:nvPr/>
            </p:nvSpPr>
            <p:spPr>
              <a:xfrm>
                <a:off x="8746612" y="3714589"/>
                <a:ext cx="112305" cy="105668"/>
              </a:xfrm>
              <a:custGeom>
                <a:avLst/>
                <a:gdLst>
                  <a:gd name="connsiteX0" fmla="*/ 0 w 112305"/>
                  <a:gd name="connsiteY0" fmla="*/ 3808 h 105668"/>
                  <a:gd name="connsiteX1" fmla="*/ 2855 w 112305"/>
                  <a:gd name="connsiteY1" fmla="*/ 952 h 105668"/>
                  <a:gd name="connsiteX2" fmla="*/ 109451 w 112305"/>
                  <a:gd name="connsiteY2" fmla="*/ 0 h 105668"/>
                  <a:gd name="connsiteX3" fmla="*/ 109451 w 112305"/>
                  <a:gd name="connsiteY3" fmla="*/ 0 h 105668"/>
                  <a:gd name="connsiteX4" fmla="*/ 112306 w 112305"/>
                  <a:gd name="connsiteY4" fmla="*/ 2856 h 105668"/>
                  <a:gd name="connsiteX5" fmla="*/ 112306 w 112305"/>
                  <a:gd name="connsiteY5" fmla="*/ 81869 h 105668"/>
                  <a:gd name="connsiteX6" fmla="*/ 109451 w 112305"/>
                  <a:gd name="connsiteY6" fmla="*/ 84725 h 105668"/>
                  <a:gd name="connsiteX7" fmla="*/ 74236 w 112305"/>
                  <a:gd name="connsiteY7" fmla="*/ 85677 h 105668"/>
                  <a:gd name="connsiteX8" fmla="*/ 74236 w 112305"/>
                  <a:gd name="connsiteY8" fmla="*/ 105668 h 105668"/>
                  <a:gd name="connsiteX9" fmla="*/ 55201 w 112305"/>
                  <a:gd name="connsiteY9" fmla="*/ 86629 h 105668"/>
                  <a:gd name="connsiteX10" fmla="*/ 54250 w 112305"/>
                  <a:gd name="connsiteY10" fmla="*/ 85677 h 105668"/>
                  <a:gd name="connsiteX11" fmla="*/ 2855 w 112305"/>
                  <a:gd name="connsiteY11" fmla="*/ 85677 h 105668"/>
                  <a:gd name="connsiteX12" fmla="*/ 0 w 112305"/>
                  <a:gd name="connsiteY12" fmla="*/ 82821 h 105668"/>
                  <a:gd name="connsiteX13" fmla="*/ 0 w 112305"/>
                  <a:gd name="connsiteY13" fmla="*/ 82821 h 105668"/>
                  <a:gd name="connsiteX14" fmla="*/ 0 w 112305"/>
                  <a:gd name="connsiteY14" fmla="*/ 3808 h 105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305" h="105668">
                    <a:moveTo>
                      <a:pt x="0" y="3808"/>
                    </a:moveTo>
                    <a:cubicBezTo>
                      <a:pt x="0" y="2856"/>
                      <a:pt x="952" y="952"/>
                      <a:pt x="2855" y="952"/>
                    </a:cubicBezTo>
                    <a:lnTo>
                      <a:pt x="109451" y="0"/>
                    </a:lnTo>
                    <a:lnTo>
                      <a:pt x="109451" y="0"/>
                    </a:lnTo>
                    <a:cubicBezTo>
                      <a:pt x="111354" y="0"/>
                      <a:pt x="112306" y="952"/>
                      <a:pt x="112306" y="2856"/>
                    </a:cubicBezTo>
                    <a:lnTo>
                      <a:pt x="112306" y="81869"/>
                    </a:lnTo>
                    <a:cubicBezTo>
                      <a:pt x="112306" y="82821"/>
                      <a:pt x="111354" y="84725"/>
                      <a:pt x="109451" y="84725"/>
                    </a:cubicBezTo>
                    <a:lnTo>
                      <a:pt x="74236" y="85677"/>
                    </a:lnTo>
                    <a:lnTo>
                      <a:pt x="74236" y="105668"/>
                    </a:lnTo>
                    <a:lnTo>
                      <a:pt x="55201" y="86629"/>
                    </a:lnTo>
                    <a:lnTo>
                      <a:pt x="54250" y="85677"/>
                    </a:lnTo>
                    <a:lnTo>
                      <a:pt x="2855" y="85677"/>
                    </a:lnTo>
                    <a:cubicBezTo>
                      <a:pt x="1904" y="85677"/>
                      <a:pt x="0" y="84725"/>
                      <a:pt x="0" y="82821"/>
                    </a:cubicBezTo>
                    <a:cubicBezTo>
                      <a:pt x="0" y="82821"/>
                      <a:pt x="0" y="82821"/>
                      <a:pt x="0" y="82821"/>
                    </a:cubicBezTo>
                    <a:lnTo>
                      <a:pt x="0" y="3808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00CC9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A04C186-18A7-AC9E-1B59-99BDD6992A7B}"/>
              </a:ext>
            </a:extLst>
          </p:cNvPr>
          <p:cNvGrpSpPr>
            <a:grpSpLocks noChangeAspect="1"/>
          </p:cNvGrpSpPr>
          <p:nvPr/>
        </p:nvGrpSpPr>
        <p:grpSpPr>
          <a:xfrm>
            <a:off x="11181207" y="2803049"/>
            <a:ext cx="647853" cy="648000"/>
            <a:chOff x="6750801" y="2635060"/>
            <a:chExt cx="498715" cy="498830"/>
          </a:xfrm>
          <a:noFill/>
        </p:grpSpPr>
        <p:sp>
          <p:nvSpPr>
            <p:cNvPr id="55" name="Freeform 136">
              <a:extLst>
                <a:ext uri="{FF2B5EF4-FFF2-40B4-BE49-F238E27FC236}">
                  <a16:creationId xmlns:a16="http://schemas.microsoft.com/office/drawing/2014/main" id="{03529C74-EE72-7A8A-09C8-08196FC3B406}"/>
                </a:ext>
              </a:extLst>
            </p:cNvPr>
            <p:cNvSpPr/>
            <p:nvPr/>
          </p:nvSpPr>
          <p:spPr>
            <a:xfrm>
              <a:off x="6750801" y="2635060"/>
              <a:ext cx="498715" cy="498830"/>
            </a:xfrm>
            <a:custGeom>
              <a:avLst/>
              <a:gdLst>
                <a:gd name="connsiteX0" fmla="*/ 0 w 498715"/>
                <a:gd name="connsiteY0" fmla="*/ 378883 h 498830"/>
                <a:gd name="connsiteX1" fmla="*/ 225564 w 498715"/>
                <a:gd name="connsiteY1" fmla="*/ 498830 h 498830"/>
                <a:gd name="connsiteX2" fmla="*/ 396878 w 498715"/>
                <a:gd name="connsiteY2" fmla="*/ 437905 h 498830"/>
                <a:gd name="connsiteX3" fmla="*/ 473018 w 498715"/>
                <a:gd name="connsiteY3" fmla="*/ 465512 h 498830"/>
                <a:gd name="connsiteX4" fmla="*/ 456838 w 498715"/>
                <a:gd name="connsiteY4" fmla="*/ 371267 h 498830"/>
                <a:gd name="connsiteX5" fmla="*/ 498715 w 498715"/>
                <a:gd name="connsiteY5" fmla="*/ 226568 h 498830"/>
                <a:gd name="connsiteX6" fmla="*/ 377843 w 498715"/>
                <a:gd name="connsiteY6" fmla="*/ 0 h 49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715" h="498830">
                  <a:moveTo>
                    <a:pt x="0" y="378883"/>
                  </a:moveTo>
                  <a:cubicBezTo>
                    <a:pt x="48539" y="451232"/>
                    <a:pt x="132293" y="498830"/>
                    <a:pt x="225564" y="498830"/>
                  </a:cubicBezTo>
                  <a:cubicBezTo>
                    <a:pt x="290282" y="498830"/>
                    <a:pt x="350242" y="475983"/>
                    <a:pt x="396878" y="437905"/>
                  </a:cubicBezTo>
                  <a:lnTo>
                    <a:pt x="473018" y="465512"/>
                  </a:lnTo>
                  <a:lnTo>
                    <a:pt x="456838" y="371267"/>
                  </a:lnTo>
                  <a:cubicBezTo>
                    <a:pt x="483487" y="329380"/>
                    <a:pt x="498715" y="279878"/>
                    <a:pt x="498715" y="226568"/>
                  </a:cubicBezTo>
                  <a:cubicBezTo>
                    <a:pt x="498715" y="132323"/>
                    <a:pt x="450176" y="48550"/>
                    <a:pt x="377843" y="0"/>
                  </a:cubicBezTo>
                </a:path>
              </a:pathLst>
            </a:custGeom>
            <a:grpFill/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Freeform 137">
              <a:extLst>
                <a:ext uri="{FF2B5EF4-FFF2-40B4-BE49-F238E27FC236}">
                  <a16:creationId xmlns:a16="http://schemas.microsoft.com/office/drawing/2014/main" id="{3391D590-5DD7-0442-990E-FC4F3C5DA934}"/>
                </a:ext>
              </a:extLst>
            </p:cNvPr>
            <p:cNvSpPr/>
            <p:nvPr/>
          </p:nvSpPr>
          <p:spPr>
            <a:xfrm>
              <a:off x="6821230" y="2673138"/>
              <a:ext cx="79946" cy="79965"/>
            </a:xfrm>
            <a:custGeom>
              <a:avLst/>
              <a:gdLst>
                <a:gd name="connsiteX0" fmla="*/ 79947 w 79946"/>
                <a:gd name="connsiteY0" fmla="*/ 39983 h 79965"/>
                <a:gd name="connsiteX1" fmla="*/ 39973 w 79946"/>
                <a:gd name="connsiteY1" fmla="*/ 79965 h 79965"/>
                <a:gd name="connsiteX2" fmla="*/ 0 w 79946"/>
                <a:gd name="connsiteY2" fmla="*/ 39983 h 79965"/>
                <a:gd name="connsiteX3" fmla="*/ 39973 w 79946"/>
                <a:gd name="connsiteY3" fmla="*/ 0 h 79965"/>
                <a:gd name="connsiteX4" fmla="*/ 79947 w 79946"/>
                <a:gd name="connsiteY4" fmla="*/ 39983 h 7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46" h="79965">
                  <a:moveTo>
                    <a:pt x="79947" y="39983"/>
                  </a:moveTo>
                  <a:cubicBezTo>
                    <a:pt x="79947" y="62064"/>
                    <a:pt x="62050" y="79965"/>
                    <a:pt x="39973" y="79965"/>
                  </a:cubicBezTo>
                  <a:cubicBezTo>
                    <a:pt x="17896" y="79965"/>
                    <a:pt x="0" y="62064"/>
                    <a:pt x="0" y="39983"/>
                  </a:cubicBezTo>
                  <a:cubicBezTo>
                    <a:pt x="0" y="17901"/>
                    <a:pt x="17896" y="0"/>
                    <a:pt x="39973" y="0"/>
                  </a:cubicBezTo>
                  <a:cubicBezTo>
                    <a:pt x="62050" y="0"/>
                    <a:pt x="79947" y="17901"/>
                    <a:pt x="79947" y="39983"/>
                  </a:cubicBezTo>
                  <a:close/>
                </a:path>
              </a:pathLst>
            </a:custGeom>
            <a:grpFill/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Freeform 138">
              <a:extLst>
                <a:ext uri="{FF2B5EF4-FFF2-40B4-BE49-F238E27FC236}">
                  <a16:creationId xmlns:a16="http://schemas.microsoft.com/office/drawing/2014/main" id="{7084B478-AA81-7790-8AFD-CD31B3B26254}"/>
                </a:ext>
              </a:extLst>
            </p:cNvPr>
            <p:cNvSpPr/>
            <p:nvPr/>
          </p:nvSpPr>
          <p:spPr>
            <a:xfrm>
              <a:off x="6763173" y="2779758"/>
              <a:ext cx="192252" cy="270358"/>
            </a:xfrm>
            <a:custGeom>
              <a:avLst/>
              <a:gdLst>
                <a:gd name="connsiteX0" fmla="*/ 169411 w 192252"/>
                <a:gd name="connsiteY0" fmla="*/ 167546 h 270358"/>
                <a:gd name="connsiteX1" fmla="*/ 192252 w 192252"/>
                <a:gd name="connsiteY1" fmla="*/ 91389 h 270358"/>
                <a:gd name="connsiteX2" fmla="*/ 179880 w 192252"/>
                <a:gd name="connsiteY2" fmla="*/ 37127 h 270358"/>
                <a:gd name="connsiteX3" fmla="*/ 174169 w 192252"/>
                <a:gd name="connsiteY3" fmla="*/ 25703 h 270358"/>
                <a:gd name="connsiteX4" fmla="*/ 131341 w 192252"/>
                <a:gd name="connsiteY4" fmla="*/ 3808 h 270358"/>
                <a:gd name="connsiteX5" fmla="*/ 98030 w 192252"/>
                <a:gd name="connsiteY5" fmla="*/ 0 h 270358"/>
                <a:gd name="connsiteX6" fmla="*/ 64719 w 192252"/>
                <a:gd name="connsiteY6" fmla="*/ 4760 h 270358"/>
                <a:gd name="connsiteX7" fmla="*/ 21890 w 192252"/>
                <a:gd name="connsiteY7" fmla="*/ 26655 h 270358"/>
                <a:gd name="connsiteX8" fmla="*/ 16180 w 192252"/>
                <a:gd name="connsiteY8" fmla="*/ 38079 h 270358"/>
                <a:gd name="connsiteX9" fmla="*/ 952 w 192252"/>
                <a:gd name="connsiteY9" fmla="*/ 109476 h 270358"/>
                <a:gd name="connsiteX10" fmla="*/ 0 w 192252"/>
                <a:gd name="connsiteY10" fmla="*/ 114236 h 270358"/>
                <a:gd name="connsiteX11" fmla="*/ 19987 w 192252"/>
                <a:gd name="connsiteY11" fmla="*/ 134227 h 270358"/>
                <a:gd name="connsiteX12" fmla="*/ 39022 w 192252"/>
                <a:gd name="connsiteY12" fmla="*/ 118996 h 270358"/>
                <a:gd name="connsiteX13" fmla="*/ 47587 w 192252"/>
                <a:gd name="connsiteY13" fmla="*/ 79965 h 270358"/>
                <a:gd name="connsiteX14" fmla="*/ 47587 w 192252"/>
                <a:gd name="connsiteY14" fmla="*/ 183730 h 270358"/>
                <a:gd name="connsiteX15" fmla="*/ 148472 w 192252"/>
                <a:gd name="connsiteY15" fmla="*/ 270359 h 270358"/>
                <a:gd name="connsiteX16" fmla="*/ 148472 w 192252"/>
                <a:gd name="connsiteY16" fmla="*/ 79013 h 270358"/>
                <a:gd name="connsiteX17" fmla="*/ 169411 w 192252"/>
                <a:gd name="connsiteY17" fmla="*/ 167546 h 270358"/>
                <a:gd name="connsiteX18" fmla="*/ 169411 w 192252"/>
                <a:gd name="connsiteY18" fmla="*/ 167546 h 27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2252" h="270358">
                  <a:moveTo>
                    <a:pt x="169411" y="167546"/>
                  </a:moveTo>
                  <a:lnTo>
                    <a:pt x="192252" y="91389"/>
                  </a:lnTo>
                  <a:lnTo>
                    <a:pt x="179880" y="37127"/>
                  </a:lnTo>
                  <a:cubicBezTo>
                    <a:pt x="178928" y="33319"/>
                    <a:pt x="177025" y="29511"/>
                    <a:pt x="174169" y="25703"/>
                  </a:cubicBezTo>
                  <a:cubicBezTo>
                    <a:pt x="161797" y="15231"/>
                    <a:pt x="147521" y="8568"/>
                    <a:pt x="131341" y="3808"/>
                  </a:cubicBezTo>
                  <a:cubicBezTo>
                    <a:pt x="119920" y="1904"/>
                    <a:pt x="109451" y="0"/>
                    <a:pt x="98030" y="0"/>
                  </a:cubicBezTo>
                  <a:cubicBezTo>
                    <a:pt x="86609" y="0"/>
                    <a:pt x="76140" y="1904"/>
                    <a:pt x="64719" y="4760"/>
                  </a:cubicBezTo>
                  <a:cubicBezTo>
                    <a:pt x="48539" y="8568"/>
                    <a:pt x="34263" y="17135"/>
                    <a:pt x="21890" y="26655"/>
                  </a:cubicBezTo>
                  <a:cubicBezTo>
                    <a:pt x="19035" y="29511"/>
                    <a:pt x="17131" y="33319"/>
                    <a:pt x="16180" y="38079"/>
                  </a:cubicBezTo>
                  <a:lnTo>
                    <a:pt x="952" y="109476"/>
                  </a:lnTo>
                  <a:cubicBezTo>
                    <a:pt x="952" y="110428"/>
                    <a:pt x="0" y="112332"/>
                    <a:pt x="0" y="114236"/>
                  </a:cubicBezTo>
                  <a:cubicBezTo>
                    <a:pt x="0" y="125660"/>
                    <a:pt x="9517" y="134227"/>
                    <a:pt x="19987" y="134227"/>
                  </a:cubicBezTo>
                  <a:cubicBezTo>
                    <a:pt x="29504" y="134227"/>
                    <a:pt x="37118" y="127563"/>
                    <a:pt x="39022" y="118996"/>
                  </a:cubicBezTo>
                  <a:lnTo>
                    <a:pt x="47587" y="79965"/>
                  </a:lnTo>
                  <a:lnTo>
                    <a:pt x="47587" y="183730"/>
                  </a:lnTo>
                  <a:cubicBezTo>
                    <a:pt x="70429" y="223712"/>
                    <a:pt x="106595" y="254175"/>
                    <a:pt x="148472" y="270359"/>
                  </a:cubicBezTo>
                  <a:lnTo>
                    <a:pt x="148472" y="79013"/>
                  </a:lnTo>
                  <a:lnTo>
                    <a:pt x="169411" y="167546"/>
                  </a:lnTo>
                  <a:cubicBezTo>
                    <a:pt x="169411" y="166594"/>
                    <a:pt x="169411" y="167546"/>
                    <a:pt x="169411" y="167546"/>
                  </a:cubicBezTo>
                  <a:close/>
                </a:path>
              </a:pathLst>
            </a:custGeom>
            <a:grpFill/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8" name="Graphic 344">
              <a:extLst>
                <a:ext uri="{FF2B5EF4-FFF2-40B4-BE49-F238E27FC236}">
                  <a16:creationId xmlns:a16="http://schemas.microsoft.com/office/drawing/2014/main" id="{185DC32B-23E5-407D-C0B0-36779C91C8EA}"/>
                </a:ext>
              </a:extLst>
            </p:cNvPr>
            <p:cNvGrpSpPr/>
            <p:nvPr/>
          </p:nvGrpSpPr>
          <p:grpSpPr>
            <a:xfrm>
              <a:off x="6922059" y="2686415"/>
              <a:ext cx="72312" cy="15275"/>
              <a:chOff x="6922059" y="2686415"/>
              <a:chExt cx="72312" cy="15275"/>
            </a:xfrm>
            <a:grpFill/>
          </p:grpSpPr>
          <p:sp>
            <p:nvSpPr>
              <p:cNvPr id="62" name="Freeform 143">
                <a:extLst>
                  <a:ext uri="{FF2B5EF4-FFF2-40B4-BE49-F238E27FC236}">
                    <a16:creationId xmlns:a16="http://schemas.microsoft.com/office/drawing/2014/main" id="{3ADB5243-3948-4A4E-9543-BD2D8EF6DEA5}"/>
                  </a:ext>
                </a:extLst>
              </p:cNvPr>
              <p:cNvSpPr/>
              <p:nvPr/>
            </p:nvSpPr>
            <p:spPr>
              <a:xfrm rot="-2700000">
                <a:off x="6979144" y="2686415"/>
                <a:ext cx="15227" cy="15231"/>
              </a:xfrm>
              <a:custGeom>
                <a:avLst/>
                <a:gdLst>
                  <a:gd name="connsiteX0" fmla="*/ 15228 w 15227"/>
                  <a:gd name="connsiteY0" fmla="*/ 7616 h 15231"/>
                  <a:gd name="connsiteX1" fmla="*/ 7614 w 15227"/>
                  <a:gd name="connsiteY1" fmla="*/ 15231 h 15231"/>
                  <a:gd name="connsiteX2" fmla="*/ 0 w 15227"/>
                  <a:gd name="connsiteY2" fmla="*/ 7616 h 15231"/>
                  <a:gd name="connsiteX3" fmla="*/ 7614 w 15227"/>
                  <a:gd name="connsiteY3" fmla="*/ 0 h 15231"/>
                  <a:gd name="connsiteX4" fmla="*/ 15228 w 15227"/>
                  <a:gd name="connsiteY4" fmla="*/ 7616 h 15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27" h="15231">
                    <a:moveTo>
                      <a:pt x="15228" y="7616"/>
                    </a:moveTo>
                    <a:cubicBezTo>
                      <a:pt x="15228" y="11822"/>
                      <a:pt x="11819" y="15231"/>
                      <a:pt x="7614" y="15231"/>
                    </a:cubicBezTo>
                    <a:cubicBezTo>
                      <a:pt x="3409" y="15231"/>
                      <a:pt x="0" y="11822"/>
                      <a:pt x="0" y="7616"/>
                    </a:cubicBezTo>
                    <a:cubicBezTo>
                      <a:pt x="0" y="3410"/>
                      <a:pt x="3409" y="0"/>
                      <a:pt x="7614" y="0"/>
                    </a:cubicBezTo>
                    <a:cubicBezTo>
                      <a:pt x="11819" y="0"/>
                      <a:pt x="15228" y="3410"/>
                      <a:pt x="15228" y="761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3" name="Freeform 144">
                <a:extLst>
                  <a:ext uri="{FF2B5EF4-FFF2-40B4-BE49-F238E27FC236}">
                    <a16:creationId xmlns:a16="http://schemas.microsoft.com/office/drawing/2014/main" id="{965842AF-B2D7-DBF2-C73A-2FF506D02865}"/>
                  </a:ext>
                </a:extLst>
              </p:cNvPr>
              <p:cNvSpPr/>
              <p:nvPr/>
            </p:nvSpPr>
            <p:spPr>
              <a:xfrm rot="-2700000">
                <a:off x="6950602" y="2686437"/>
                <a:ext cx="15227" cy="15231"/>
              </a:xfrm>
              <a:custGeom>
                <a:avLst/>
                <a:gdLst>
                  <a:gd name="connsiteX0" fmla="*/ 15228 w 15227"/>
                  <a:gd name="connsiteY0" fmla="*/ 7616 h 15231"/>
                  <a:gd name="connsiteX1" fmla="*/ 7614 w 15227"/>
                  <a:gd name="connsiteY1" fmla="*/ 15231 h 15231"/>
                  <a:gd name="connsiteX2" fmla="*/ 0 w 15227"/>
                  <a:gd name="connsiteY2" fmla="*/ 7616 h 15231"/>
                  <a:gd name="connsiteX3" fmla="*/ 7614 w 15227"/>
                  <a:gd name="connsiteY3" fmla="*/ 0 h 15231"/>
                  <a:gd name="connsiteX4" fmla="*/ 15228 w 15227"/>
                  <a:gd name="connsiteY4" fmla="*/ 7616 h 15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27" h="15231">
                    <a:moveTo>
                      <a:pt x="15228" y="7616"/>
                    </a:moveTo>
                    <a:cubicBezTo>
                      <a:pt x="15228" y="11822"/>
                      <a:pt x="11819" y="15231"/>
                      <a:pt x="7614" y="15231"/>
                    </a:cubicBezTo>
                    <a:cubicBezTo>
                      <a:pt x="3409" y="15231"/>
                      <a:pt x="0" y="11822"/>
                      <a:pt x="0" y="7616"/>
                    </a:cubicBezTo>
                    <a:cubicBezTo>
                      <a:pt x="0" y="3410"/>
                      <a:pt x="3409" y="0"/>
                      <a:pt x="7614" y="0"/>
                    </a:cubicBezTo>
                    <a:cubicBezTo>
                      <a:pt x="11819" y="0"/>
                      <a:pt x="15228" y="3410"/>
                      <a:pt x="15228" y="761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92" name="Freeform 145">
                <a:extLst>
                  <a:ext uri="{FF2B5EF4-FFF2-40B4-BE49-F238E27FC236}">
                    <a16:creationId xmlns:a16="http://schemas.microsoft.com/office/drawing/2014/main" id="{EBF4F864-90B0-8245-A16D-DE6B4A277986}"/>
                  </a:ext>
                </a:extLst>
              </p:cNvPr>
              <p:cNvSpPr/>
              <p:nvPr/>
            </p:nvSpPr>
            <p:spPr>
              <a:xfrm rot="-2700000">
                <a:off x="6922059" y="2686459"/>
                <a:ext cx="15227" cy="15231"/>
              </a:xfrm>
              <a:custGeom>
                <a:avLst/>
                <a:gdLst>
                  <a:gd name="connsiteX0" fmla="*/ 15228 w 15227"/>
                  <a:gd name="connsiteY0" fmla="*/ 7616 h 15231"/>
                  <a:gd name="connsiteX1" fmla="*/ 7614 w 15227"/>
                  <a:gd name="connsiteY1" fmla="*/ 15231 h 15231"/>
                  <a:gd name="connsiteX2" fmla="*/ 0 w 15227"/>
                  <a:gd name="connsiteY2" fmla="*/ 7616 h 15231"/>
                  <a:gd name="connsiteX3" fmla="*/ 7614 w 15227"/>
                  <a:gd name="connsiteY3" fmla="*/ 0 h 15231"/>
                  <a:gd name="connsiteX4" fmla="*/ 15228 w 15227"/>
                  <a:gd name="connsiteY4" fmla="*/ 7616 h 15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27" h="15231">
                    <a:moveTo>
                      <a:pt x="15228" y="7616"/>
                    </a:moveTo>
                    <a:cubicBezTo>
                      <a:pt x="15228" y="11822"/>
                      <a:pt x="11819" y="15231"/>
                      <a:pt x="7614" y="15231"/>
                    </a:cubicBezTo>
                    <a:cubicBezTo>
                      <a:pt x="3409" y="15231"/>
                      <a:pt x="0" y="11822"/>
                      <a:pt x="0" y="7616"/>
                    </a:cubicBezTo>
                    <a:cubicBezTo>
                      <a:pt x="0" y="3410"/>
                      <a:pt x="3409" y="0"/>
                      <a:pt x="7614" y="0"/>
                    </a:cubicBezTo>
                    <a:cubicBezTo>
                      <a:pt x="11819" y="0"/>
                      <a:pt x="15228" y="3410"/>
                      <a:pt x="15228" y="761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aphic 344">
              <a:extLst>
                <a:ext uri="{FF2B5EF4-FFF2-40B4-BE49-F238E27FC236}">
                  <a16:creationId xmlns:a16="http://schemas.microsoft.com/office/drawing/2014/main" id="{DD89D560-9055-2D24-FB90-9F13296EA933}"/>
                </a:ext>
              </a:extLst>
            </p:cNvPr>
            <p:cNvGrpSpPr/>
            <p:nvPr/>
          </p:nvGrpSpPr>
          <p:grpSpPr>
            <a:xfrm>
              <a:off x="6917323" y="2688905"/>
              <a:ext cx="245287" cy="374539"/>
              <a:chOff x="6917323" y="2688905"/>
              <a:chExt cx="245287" cy="374539"/>
            </a:xfrm>
            <a:grpFill/>
          </p:grpSpPr>
          <p:sp>
            <p:nvSpPr>
              <p:cNvPr id="60" name="Freeform 141">
                <a:extLst>
                  <a:ext uri="{FF2B5EF4-FFF2-40B4-BE49-F238E27FC236}">
                    <a16:creationId xmlns:a16="http://schemas.microsoft.com/office/drawing/2014/main" id="{4CB2E9A9-5672-651F-D453-26180113C23F}"/>
                  </a:ext>
                </a:extLst>
              </p:cNvPr>
              <p:cNvSpPr/>
              <p:nvPr/>
            </p:nvSpPr>
            <p:spPr>
              <a:xfrm rot="-797148">
                <a:off x="7000988" y="2688905"/>
                <a:ext cx="95171" cy="95193"/>
              </a:xfrm>
              <a:custGeom>
                <a:avLst/>
                <a:gdLst>
                  <a:gd name="connsiteX0" fmla="*/ 95171 w 95171"/>
                  <a:gd name="connsiteY0" fmla="*/ 47597 h 95193"/>
                  <a:gd name="connsiteX1" fmla="*/ 47585 w 95171"/>
                  <a:gd name="connsiteY1" fmla="*/ 95193 h 95193"/>
                  <a:gd name="connsiteX2" fmla="*/ 0 w 95171"/>
                  <a:gd name="connsiteY2" fmla="*/ 47597 h 95193"/>
                  <a:gd name="connsiteX3" fmla="*/ 47585 w 95171"/>
                  <a:gd name="connsiteY3" fmla="*/ 0 h 95193"/>
                  <a:gd name="connsiteX4" fmla="*/ 95171 w 95171"/>
                  <a:gd name="connsiteY4" fmla="*/ 47597 h 95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171" h="95193">
                    <a:moveTo>
                      <a:pt x="95171" y="47597"/>
                    </a:moveTo>
                    <a:cubicBezTo>
                      <a:pt x="95171" y="73883"/>
                      <a:pt x="73866" y="95193"/>
                      <a:pt x="47585" y="95193"/>
                    </a:cubicBezTo>
                    <a:cubicBezTo>
                      <a:pt x="21305" y="95193"/>
                      <a:pt x="0" y="73883"/>
                      <a:pt x="0" y="47597"/>
                    </a:cubicBezTo>
                    <a:cubicBezTo>
                      <a:pt x="0" y="21310"/>
                      <a:pt x="21305" y="0"/>
                      <a:pt x="47585" y="0"/>
                    </a:cubicBezTo>
                    <a:cubicBezTo>
                      <a:pt x="73866" y="0"/>
                      <a:pt x="95171" y="21310"/>
                      <a:pt x="95171" y="47597"/>
                    </a:cubicBezTo>
                    <a:close/>
                  </a:path>
                </a:pathLst>
              </a:custGeom>
              <a:grpFill/>
              <a:ln w="285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1" name="Freeform 142">
                <a:extLst>
                  <a:ext uri="{FF2B5EF4-FFF2-40B4-BE49-F238E27FC236}">
                    <a16:creationId xmlns:a16="http://schemas.microsoft.com/office/drawing/2014/main" id="{FA71816D-43FD-EA55-662A-B9A07DF39747}"/>
                  </a:ext>
                </a:extLst>
              </p:cNvPr>
              <p:cNvSpPr/>
              <p:nvPr/>
            </p:nvSpPr>
            <p:spPr>
              <a:xfrm>
                <a:off x="6917323" y="2811173"/>
                <a:ext cx="245287" cy="252271"/>
              </a:xfrm>
              <a:custGeom>
                <a:avLst/>
                <a:gdLst>
                  <a:gd name="connsiteX0" fmla="*/ 244632 w 245287"/>
                  <a:gd name="connsiteY0" fmla="*/ 129467 h 252271"/>
                  <a:gd name="connsiteX1" fmla="*/ 222742 w 245287"/>
                  <a:gd name="connsiteY1" fmla="*/ 48550 h 252271"/>
                  <a:gd name="connsiteX2" fmla="*/ 218935 w 245287"/>
                  <a:gd name="connsiteY2" fmla="*/ 36175 h 252271"/>
                  <a:gd name="connsiteX3" fmla="*/ 209417 w 245287"/>
                  <a:gd name="connsiteY3" fmla="*/ 22847 h 252271"/>
                  <a:gd name="connsiteX4" fmla="*/ 159926 w 245287"/>
                  <a:gd name="connsiteY4" fmla="*/ 2856 h 252271"/>
                  <a:gd name="connsiteX5" fmla="*/ 132326 w 245287"/>
                  <a:gd name="connsiteY5" fmla="*/ 0 h 252271"/>
                  <a:gd name="connsiteX6" fmla="*/ 104725 w 245287"/>
                  <a:gd name="connsiteY6" fmla="*/ 2856 h 252271"/>
                  <a:gd name="connsiteX7" fmla="*/ 55234 w 245287"/>
                  <a:gd name="connsiteY7" fmla="*/ 22847 h 252271"/>
                  <a:gd name="connsiteX8" fmla="*/ 45717 w 245287"/>
                  <a:gd name="connsiteY8" fmla="*/ 36175 h 252271"/>
                  <a:gd name="connsiteX9" fmla="*/ 11454 w 245287"/>
                  <a:gd name="connsiteY9" fmla="*/ 149459 h 252271"/>
                  <a:gd name="connsiteX10" fmla="*/ 985 w 245287"/>
                  <a:gd name="connsiteY10" fmla="*/ 183729 h 252271"/>
                  <a:gd name="connsiteX11" fmla="*/ 17165 w 245287"/>
                  <a:gd name="connsiteY11" fmla="*/ 213240 h 252271"/>
                  <a:gd name="connsiteX12" fmla="*/ 23827 w 245287"/>
                  <a:gd name="connsiteY12" fmla="*/ 214192 h 252271"/>
                  <a:gd name="connsiteX13" fmla="*/ 46669 w 245287"/>
                  <a:gd name="connsiteY13" fmla="*/ 197057 h 252271"/>
                  <a:gd name="connsiteX14" fmla="*/ 69511 w 245287"/>
                  <a:gd name="connsiteY14" fmla="*/ 120900 h 252271"/>
                  <a:gd name="connsiteX15" fmla="*/ 83787 w 245287"/>
                  <a:gd name="connsiteY15" fmla="*/ 72349 h 252271"/>
                  <a:gd name="connsiteX16" fmla="*/ 83787 w 245287"/>
                  <a:gd name="connsiteY16" fmla="*/ 114236 h 252271"/>
                  <a:gd name="connsiteX17" fmla="*/ 83787 w 245287"/>
                  <a:gd name="connsiteY17" fmla="*/ 114236 h 252271"/>
                  <a:gd name="connsiteX18" fmla="*/ 42862 w 245287"/>
                  <a:gd name="connsiteY18" fmla="*/ 250367 h 252271"/>
                  <a:gd name="connsiteX19" fmla="*/ 68559 w 245287"/>
                  <a:gd name="connsiteY19" fmla="*/ 252271 h 252271"/>
                  <a:gd name="connsiteX20" fmla="*/ 204659 w 245287"/>
                  <a:gd name="connsiteY20" fmla="*/ 200865 h 252271"/>
                  <a:gd name="connsiteX21" fmla="*/ 178961 w 245287"/>
                  <a:gd name="connsiteY21" fmla="*/ 114236 h 252271"/>
                  <a:gd name="connsiteX22" fmla="*/ 178961 w 245287"/>
                  <a:gd name="connsiteY22" fmla="*/ 72349 h 252271"/>
                  <a:gd name="connsiteX23" fmla="*/ 198948 w 245287"/>
                  <a:gd name="connsiteY23" fmla="*/ 142795 h 252271"/>
                  <a:gd name="connsiteX24" fmla="*/ 221790 w 245287"/>
                  <a:gd name="connsiteY24" fmla="*/ 159930 h 252271"/>
                  <a:gd name="connsiteX25" fmla="*/ 228452 w 245287"/>
                  <a:gd name="connsiteY25" fmla="*/ 158978 h 252271"/>
                  <a:gd name="connsiteX26" fmla="*/ 244632 w 245287"/>
                  <a:gd name="connsiteY26" fmla="*/ 129467 h 252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45287" h="252271">
                    <a:moveTo>
                      <a:pt x="244632" y="129467"/>
                    </a:moveTo>
                    <a:lnTo>
                      <a:pt x="222742" y="48550"/>
                    </a:lnTo>
                    <a:lnTo>
                      <a:pt x="218935" y="36175"/>
                    </a:lnTo>
                    <a:cubicBezTo>
                      <a:pt x="217983" y="30463"/>
                      <a:pt x="214176" y="25703"/>
                      <a:pt x="209417" y="22847"/>
                    </a:cubicBezTo>
                    <a:cubicBezTo>
                      <a:pt x="195141" y="13327"/>
                      <a:pt x="178961" y="7616"/>
                      <a:pt x="159926" y="2856"/>
                    </a:cubicBezTo>
                    <a:cubicBezTo>
                      <a:pt x="150409" y="1904"/>
                      <a:pt x="141844" y="0"/>
                      <a:pt x="132326" y="0"/>
                    </a:cubicBezTo>
                    <a:cubicBezTo>
                      <a:pt x="122809" y="0"/>
                      <a:pt x="114243" y="952"/>
                      <a:pt x="104725" y="2856"/>
                    </a:cubicBezTo>
                    <a:cubicBezTo>
                      <a:pt x="85690" y="6664"/>
                      <a:pt x="69511" y="13327"/>
                      <a:pt x="55234" y="22847"/>
                    </a:cubicBezTo>
                    <a:cubicBezTo>
                      <a:pt x="50476" y="26655"/>
                      <a:pt x="46669" y="30463"/>
                      <a:pt x="45717" y="36175"/>
                    </a:cubicBezTo>
                    <a:lnTo>
                      <a:pt x="11454" y="149459"/>
                    </a:lnTo>
                    <a:lnTo>
                      <a:pt x="985" y="183729"/>
                    </a:lnTo>
                    <a:cubicBezTo>
                      <a:pt x="-2822" y="197057"/>
                      <a:pt x="4792" y="210384"/>
                      <a:pt x="17165" y="213240"/>
                    </a:cubicBezTo>
                    <a:cubicBezTo>
                      <a:pt x="19068" y="214192"/>
                      <a:pt x="21924" y="214192"/>
                      <a:pt x="23827" y="214192"/>
                    </a:cubicBezTo>
                    <a:cubicBezTo>
                      <a:pt x="34296" y="214192"/>
                      <a:pt x="43814" y="206577"/>
                      <a:pt x="46669" y="197057"/>
                    </a:cubicBezTo>
                    <a:lnTo>
                      <a:pt x="69511" y="120900"/>
                    </a:lnTo>
                    <a:lnTo>
                      <a:pt x="83787" y="72349"/>
                    </a:lnTo>
                    <a:lnTo>
                      <a:pt x="83787" y="114236"/>
                    </a:lnTo>
                    <a:lnTo>
                      <a:pt x="83787" y="114236"/>
                    </a:lnTo>
                    <a:lnTo>
                      <a:pt x="42862" y="250367"/>
                    </a:lnTo>
                    <a:cubicBezTo>
                      <a:pt x="51428" y="251319"/>
                      <a:pt x="59993" y="252271"/>
                      <a:pt x="68559" y="252271"/>
                    </a:cubicBezTo>
                    <a:cubicBezTo>
                      <a:pt x="119001" y="252271"/>
                      <a:pt x="166589" y="234184"/>
                      <a:pt x="204659" y="200865"/>
                    </a:cubicBezTo>
                    <a:lnTo>
                      <a:pt x="178961" y="114236"/>
                    </a:lnTo>
                    <a:lnTo>
                      <a:pt x="178961" y="72349"/>
                    </a:lnTo>
                    <a:lnTo>
                      <a:pt x="198948" y="142795"/>
                    </a:lnTo>
                    <a:cubicBezTo>
                      <a:pt x="202755" y="153267"/>
                      <a:pt x="212272" y="159930"/>
                      <a:pt x="221790" y="159930"/>
                    </a:cubicBezTo>
                    <a:cubicBezTo>
                      <a:pt x="223694" y="159930"/>
                      <a:pt x="226549" y="159930"/>
                      <a:pt x="228452" y="158978"/>
                    </a:cubicBezTo>
                    <a:cubicBezTo>
                      <a:pt x="240825" y="156122"/>
                      <a:pt x="247487" y="142795"/>
                      <a:pt x="244632" y="129467"/>
                    </a:cubicBezTo>
                    <a:close/>
                  </a:path>
                </a:pathLst>
              </a:custGeom>
              <a:grpFill/>
              <a:ln w="285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F8DFED33-1DB2-4803-F1A9-5EDF9EF43660}"/>
              </a:ext>
            </a:extLst>
          </p:cNvPr>
          <p:cNvGrpSpPr/>
          <p:nvPr/>
        </p:nvGrpSpPr>
        <p:grpSpPr>
          <a:xfrm>
            <a:off x="11419589" y="4484915"/>
            <a:ext cx="238125" cy="251994"/>
            <a:chOff x="11385833" y="4416678"/>
            <a:chExt cx="238125" cy="251994"/>
          </a:xfrm>
        </p:grpSpPr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E804AC4E-D33D-6D4D-61EE-C166D8B5004C}"/>
                </a:ext>
              </a:extLst>
            </p:cNvPr>
            <p:cNvSpPr/>
            <p:nvPr/>
          </p:nvSpPr>
          <p:spPr>
            <a:xfrm>
              <a:off x="11442983" y="4416678"/>
              <a:ext cx="123825" cy="123854"/>
            </a:xfrm>
            <a:custGeom>
              <a:avLst/>
              <a:gdLst>
                <a:gd name="connsiteX0" fmla="*/ 123727 w 247453"/>
                <a:gd name="connsiteY0" fmla="*/ 247511 h 247511"/>
                <a:gd name="connsiteX1" fmla="*/ 247454 w 247453"/>
                <a:gd name="connsiteY1" fmla="*/ 123756 h 247511"/>
                <a:gd name="connsiteX2" fmla="*/ 123727 w 247453"/>
                <a:gd name="connsiteY2" fmla="*/ 0 h 247511"/>
                <a:gd name="connsiteX3" fmla="*/ 0 w 247453"/>
                <a:gd name="connsiteY3" fmla="*/ 123756 h 247511"/>
                <a:gd name="connsiteX4" fmla="*/ 123727 w 247453"/>
                <a:gd name="connsiteY4" fmla="*/ 247511 h 247511"/>
                <a:gd name="connsiteX5" fmla="*/ 123727 w 247453"/>
                <a:gd name="connsiteY5" fmla="*/ 214192 h 247511"/>
                <a:gd name="connsiteX6" fmla="*/ 33311 w 247453"/>
                <a:gd name="connsiteY6" fmla="*/ 123756 h 247511"/>
                <a:gd name="connsiteX7" fmla="*/ 123727 w 247453"/>
                <a:gd name="connsiteY7" fmla="*/ 33319 h 247511"/>
                <a:gd name="connsiteX8" fmla="*/ 214143 w 247453"/>
                <a:gd name="connsiteY8" fmla="*/ 123756 h 247511"/>
                <a:gd name="connsiteX9" fmla="*/ 123727 w 247453"/>
                <a:gd name="connsiteY9" fmla="*/ 214192 h 2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53" h="247511">
                  <a:moveTo>
                    <a:pt x="123727" y="247511"/>
                  </a:moveTo>
                  <a:cubicBezTo>
                    <a:pt x="192253" y="247511"/>
                    <a:pt x="247454" y="192297"/>
                    <a:pt x="247454" y="123756"/>
                  </a:cubicBezTo>
                  <a:cubicBezTo>
                    <a:pt x="247454" y="55214"/>
                    <a:pt x="192253" y="0"/>
                    <a:pt x="123727" y="0"/>
                  </a:cubicBezTo>
                  <a:cubicBezTo>
                    <a:pt x="55201" y="0"/>
                    <a:pt x="0" y="55214"/>
                    <a:pt x="0" y="123756"/>
                  </a:cubicBezTo>
                  <a:cubicBezTo>
                    <a:pt x="0" y="192297"/>
                    <a:pt x="56153" y="247511"/>
                    <a:pt x="123727" y="247511"/>
                  </a:cubicBezTo>
                  <a:close/>
                  <a:moveTo>
                    <a:pt x="123727" y="214192"/>
                  </a:moveTo>
                  <a:cubicBezTo>
                    <a:pt x="74236" y="214192"/>
                    <a:pt x="33311" y="173258"/>
                    <a:pt x="33311" y="123756"/>
                  </a:cubicBezTo>
                  <a:cubicBezTo>
                    <a:pt x="33311" y="74253"/>
                    <a:pt x="74236" y="33319"/>
                    <a:pt x="123727" y="33319"/>
                  </a:cubicBezTo>
                  <a:cubicBezTo>
                    <a:pt x="173218" y="33319"/>
                    <a:pt x="214143" y="74253"/>
                    <a:pt x="214143" y="123756"/>
                  </a:cubicBezTo>
                  <a:cubicBezTo>
                    <a:pt x="214143" y="173258"/>
                    <a:pt x="174169" y="214192"/>
                    <a:pt x="123727" y="214192"/>
                  </a:cubicBezTo>
                  <a:close/>
                </a:path>
              </a:pathLst>
            </a:custGeom>
            <a:solidFill>
              <a:srgbClr val="7030A0"/>
            </a:solidFill>
            <a:ln w="6350" cap="flat">
              <a:solidFill>
                <a:srgbClr val="7030A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6" name="Freeform 35">
              <a:extLst>
                <a:ext uri="{FF2B5EF4-FFF2-40B4-BE49-F238E27FC236}">
                  <a16:creationId xmlns:a16="http://schemas.microsoft.com/office/drawing/2014/main" id="{F303D819-A628-048D-6D95-F257CFD6EFFC}"/>
                </a:ext>
              </a:extLst>
            </p:cNvPr>
            <p:cNvSpPr/>
            <p:nvPr/>
          </p:nvSpPr>
          <p:spPr>
            <a:xfrm>
              <a:off x="11385833" y="4545295"/>
              <a:ext cx="238125" cy="123377"/>
            </a:xfrm>
            <a:custGeom>
              <a:avLst/>
              <a:gdLst>
                <a:gd name="connsiteX0" fmla="*/ 447321 w 475872"/>
                <a:gd name="connsiteY0" fmla="*/ 69493 h 246559"/>
                <a:gd name="connsiteX1" fmla="*/ 334063 w 475872"/>
                <a:gd name="connsiteY1" fmla="*/ 14279 h 246559"/>
                <a:gd name="connsiteX2" fmla="*/ 237936 w 475872"/>
                <a:gd name="connsiteY2" fmla="*/ 0 h 246559"/>
                <a:gd name="connsiteX3" fmla="*/ 141810 w 475872"/>
                <a:gd name="connsiteY3" fmla="*/ 14279 h 246559"/>
                <a:gd name="connsiteX4" fmla="*/ 28552 w 475872"/>
                <a:gd name="connsiteY4" fmla="*/ 69493 h 246559"/>
                <a:gd name="connsiteX5" fmla="*/ 0 w 475872"/>
                <a:gd name="connsiteY5" fmla="*/ 126611 h 246559"/>
                <a:gd name="connsiteX6" fmla="*/ 0 w 475872"/>
                <a:gd name="connsiteY6" fmla="*/ 237040 h 246559"/>
                <a:gd name="connsiteX7" fmla="*/ 9517 w 475872"/>
                <a:gd name="connsiteY7" fmla="*/ 246559 h 246559"/>
                <a:gd name="connsiteX8" fmla="*/ 23794 w 475872"/>
                <a:gd name="connsiteY8" fmla="*/ 246559 h 246559"/>
                <a:gd name="connsiteX9" fmla="*/ 33311 w 475872"/>
                <a:gd name="connsiteY9" fmla="*/ 237040 h 246559"/>
                <a:gd name="connsiteX10" fmla="*/ 33311 w 475872"/>
                <a:gd name="connsiteY10" fmla="*/ 126611 h 246559"/>
                <a:gd name="connsiteX11" fmla="*/ 48539 w 475872"/>
                <a:gd name="connsiteY11" fmla="*/ 95197 h 246559"/>
                <a:gd name="connsiteX12" fmla="*/ 151328 w 475872"/>
                <a:gd name="connsiteY12" fmla="*/ 44742 h 246559"/>
                <a:gd name="connsiteX13" fmla="*/ 237936 w 475872"/>
                <a:gd name="connsiteY13" fmla="*/ 31415 h 246559"/>
                <a:gd name="connsiteX14" fmla="*/ 324545 w 475872"/>
                <a:gd name="connsiteY14" fmla="*/ 44742 h 246559"/>
                <a:gd name="connsiteX15" fmla="*/ 426382 w 475872"/>
                <a:gd name="connsiteY15" fmla="*/ 94245 h 246559"/>
                <a:gd name="connsiteX16" fmla="*/ 442562 w 475872"/>
                <a:gd name="connsiteY16" fmla="*/ 125659 h 246559"/>
                <a:gd name="connsiteX17" fmla="*/ 442562 w 475872"/>
                <a:gd name="connsiteY17" fmla="*/ 236088 h 246559"/>
                <a:gd name="connsiteX18" fmla="*/ 452079 w 475872"/>
                <a:gd name="connsiteY18" fmla="*/ 245607 h 246559"/>
                <a:gd name="connsiteX19" fmla="*/ 466355 w 475872"/>
                <a:gd name="connsiteY19" fmla="*/ 245607 h 246559"/>
                <a:gd name="connsiteX20" fmla="*/ 475873 w 475872"/>
                <a:gd name="connsiteY20" fmla="*/ 236088 h 246559"/>
                <a:gd name="connsiteX21" fmla="*/ 475873 w 475872"/>
                <a:gd name="connsiteY21" fmla="*/ 125659 h 246559"/>
                <a:gd name="connsiteX22" fmla="*/ 447321 w 475872"/>
                <a:gd name="connsiteY22" fmla="*/ 69493 h 24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75872" h="246559">
                  <a:moveTo>
                    <a:pt x="447321" y="69493"/>
                  </a:moveTo>
                  <a:cubicBezTo>
                    <a:pt x="413058" y="43790"/>
                    <a:pt x="374988" y="24751"/>
                    <a:pt x="334063" y="14279"/>
                  </a:cubicBezTo>
                  <a:cubicBezTo>
                    <a:pt x="302655" y="4760"/>
                    <a:pt x="270296" y="0"/>
                    <a:pt x="237936" y="0"/>
                  </a:cubicBezTo>
                  <a:cubicBezTo>
                    <a:pt x="205577" y="952"/>
                    <a:pt x="173218" y="5712"/>
                    <a:pt x="141810" y="14279"/>
                  </a:cubicBezTo>
                  <a:cubicBezTo>
                    <a:pt x="100885" y="26655"/>
                    <a:pt x="62815" y="44742"/>
                    <a:pt x="28552" y="69493"/>
                  </a:cubicBezTo>
                  <a:cubicBezTo>
                    <a:pt x="10469" y="83773"/>
                    <a:pt x="952" y="103764"/>
                    <a:pt x="0" y="126611"/>
                  </a:cubicBezTo>
                  <a:lnTo>
                    <a:pt x="0" y="237040"/>
                  </a:lnTo>
                  <a:cubicBezTo>
                    <a:pt x="0" y="242751"/>
                    <a:pt x="3807" y="246559"/>
                    <a:pt x="9517" y="246559"/>
                  </a:cubicBezTo>
                  <a:lnTo>
                    <a:pt x="23794" y="246559"/>
                  </a:lnTo>
                  <a:cubicBezTo>
                    <a:pt x="29504" y="246559"/>
                    <a:pt x="33311" y="242751"/>
                    <a:pt x="33311" y="237040"/>
                  </a:cubicBezTo>
                  <a:lnTo>
                    <a:pt x="33311" y="126611"/>
                  </a:lnTo>
                  <a:cubicBezTo>
                    <a:pt x="33311" y="114236"/>
                    <a:pt x="39021" y="102812"/>
                    <a:pt x="48539" y="95197"/>
                  </a:cubicBezTo>
                  <a:cubicBezTo>
                    <a:pt x="79947" y="72349"/>
                    <a:pt x="114210" y="56166"/>
                    <a:pt x="151328" y="44742"/>
                  </a:cubicBezTo>
                  <a:cubicBezTo>
                    <a:pt x="179880" y="36175"/>
                    <a:pt x="208433" y="32367"/>
                    <a:pt x="237936" y="31415"/>
                  </a:cubicBezTo>
                  <a:cubicBezTo>
                    <a:pt x="267440" y="31415"/>
                    <a:pt x="295993" y="36175"/>
                    <a:pt x="324545" y="44742"/>
                  </a:cubicBezTo>
                  <a:cubicBezTo>
                    <a:pt x="361663" y="54262"/>
                    <a:pt x="395926" y="71397"/>
                    <a:pt x="426382" y="94245"/>
                  </a:cubicBezTo>
                  <a:cubicBezTo>
                    <a:pt x="435899" y="101860"/>
                    <a:pt x="441610" y="113284"/>
                    <a:pt x="442562" y="125659"/>
                  </a:cubicBezTo>
                  <a:lnTo>
                    <a:pt x="442562" y="236088"/>
                  </a:lnTo>
                  <a:cubicBezTo>
                    <a:pt x="442562" y="241799"/>
                    <a:pt x="446369" y="245607"/>
                    <a:pt x="452079" y="245607"/>
                  </a:cubicBezTo>
                  <a:lnTo>
                    <a:pt x="466355" y="245607"/>
                  </a:lnTo>
                  <a:cubicBezTo>
                    <a:pt x="472066" y="245607"/>
                    <a:pt x="475873" y="241799"/>
                    <a:pt x="475873" y="236088"/>
                  </a:cubicBezTo>
                  <a:lnTo>
                    <a:pt x="475873" y="125659"/>
                  </a:lnTo>
                  <a:cubicBezTo>
                    <a:pt x="475873" y="104716"/>
                    <a:pt x="465404" y="83773"/>
                    <a:pt x="447321" y="69493"/>
                  </a:cubicBezTo>
                  <a:close/>
                </a:path>
              </a:pathLst>
            </a:custGeom>
            <a:solidFill>
              <a:srgbClr val="7030A0"/>
            </a:solidFill>
            <a:ln w="6350" cap="flat">
              <a:solidFill>
                <a:srgbClr val="7030A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7" name="Graphic 344">
            <a:extLst>
              <a:ext uri="{FF2B5EF4-FFF2-40B4-BE49-F238E27FC236}">
                <a16:creationId xmlns:a16="http://schemas.microsoft.com/office/drawing/2014/main" id="{A7F65A0C-F4CE-21E8-6D99-3BE20172AF0C}"/>
              </a:ext>
            </a:extLst>
          </p:cNvPr>
          <p:cNvGrpSpPr>
            <a:grpSpLocks noChangeAspect="1"/>
          </p:cNvGrpSpPr>
          <p:nvPr/>
        </p:nvGrpSpPr>
        <p:grpSpPr>
          <a:xfrm>
            <a:off x="11159941" y="5455880"/>
            <a:ext cx="690385" cy="690494"/>
            <a:chOff x="6198788" y="4842746"/>
            <a:chExt cx="981249" cy="981400"/>
          </a:xfrm>
        </p:grpSpPr>
        <p:grpSp>
          <p:nvGrpSpPr>
            <p:cNvPr id="198" name="Graphic 344">
              <a:extLst>
                <a:ext uri="{FF2B5EF4-FFF2-40B4-BE49-F238E27FC236}">
                  <a16:creationId xmlns:a16="http://schemas.microsoft.com/office/drawing/2014/main" id="{6F62A641-65D2-FC14-6F21-A6E61D423AEA}"/>
                </a:ext>
              </a:extLst>
            </p:cNvPr>
            <p:cNvGrpSpPr/>
            <p:nvPr/>
          </p:nvGrpSpPr>
          <p:grpSpPr>
            <a:xfrm>
              <a:off x="6315119" y="4961883"/>
              <a:ext cx="288208" cy="288265"/>
              <a:chOff x="6315119" y="4961883"/>
              <a:chExt cx="288208" cy="288265"/>
            </a:xfrm>
            <a:solidFill>
              <a:srgbClr val="010202"/>
            </a:solidFill>
          </p:grpSpPr>
          <p:sp>
            <p:nvSpPr>
              <p:cNvPr id="220" name="Freeform 213">
                <a:extLst>
                  <a:ext uri="{FF2B5EF4-FFF2-40B4-BE49-F238E27FC236}">
                    <a16:creationId xmlns:a16="http://schemas.microsoft.com/office/drawing/2014/main" id="{64465A01-D7C9-0732-3B0F-EDF85E686EB5}"/>
                  </a:ext>
                </a:extLst>
              </p:cNvPr>
              <p:cNvSpPr/>
              <p:nvPr/>
            </p:nvSpPr>
            <p:spPr>
              <a:xfrm>
                <a:off x="6315119" y="4961883"/>
                <a:ext cx="288208" cy="288265"/>
              </a:xfrm>
              <a:custGeom>
                <a:avLst/>
                <a:gdLst>
                  <a:gd name="connsiteX0" fmla="*/ 163483 w 288208"/>
                  <a:gd name="connsiteY0" fmla="*/ 163521 h 288265"/>
                  <a:gd name="connsiteX1" fmla="*/ 5493 w 288208"/>
                  <a:gd name="connsiteY1" fmla="*/ 226350 h 288265"/>
                  <a:gd name="connsiteX2" fmla="*/ 121606 w 288208"/>
                  <a:gd name="connsiteY2" fmla="*/ 288228 h 288265"/>
                  <a:gd name="connsiteX3" fmla="*/ 242478 w 288208"/>
                  <a:gd name="connsiteY3" fmla="*/ 234918 h 288265"/>
                  <a:gd name="connsiteX4" fmla="*/ 288161 w 288208"/>
                  <a:gd name="connsiteY4" fmla="*/ 121634 h 288265"/>
                  <a:gd name="connsiteX5" fmla="*/ 226298 w 288208"/>
                  <a:gd name="connsiteY5" fmla="*/ 5494 h 288265"/>
                  <a:gd name="connsiteX6" fmla="*/ 163483 w 288208"/>
                  <a:gd name="connsiteY6" fmla="*/ 163521 h 288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8208" h="288265">
                    <a:moveTo>
                      <a:pt x="163483" y="163521"/>
                    </a:moveTo>
                    <a:cubicBezTo>
                      <a:pt x="113992" y="213023"/>
                      <a:pt x="-29722" y="198743"/>
                      <a:pt x="5493" y="226350"/>
                    </a:cubicBezTo>
                    <a:cubicBezTo>
                      <a:pt x="19769" y="236822"/>
                      <a:pt x="77826" y="286324"/>
                      <a:pt x="121606" y="288228"/>
                    </a:cubicBezTo>
                    <a:cubicBezTo>
                      <a:pt x="150158" y="289180"/>
                      <a:pt x="206311" y="272045"/>
                      <a:pt x="242478" y="234918"/>
                    </a:cubicBezTo>
                    <a:cubicBezTo>
                      <a:pt x="275789" y="200647"/>
                      <a:pt x="289113" y="148289"/>
                      <a:pt x="288161" y="121634"/>
                    </a:cubicBezTo>
                    <a:cubicBezTo>
                      <a:pt x="286258" y="76892"/>
                      <a:pt x="236767" y="18822"/>
                      <a:pt x="226298" y="5494"/>
                    </a:cubicBezTo>
                    <a:cubicBezTo>
                      <a:pt x="198697" y="-29729"/>
                      <a:pt x="212973" y="114018"/>
                      <a:pt x="163483" y="16352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1" name="Freeform 214">
                <a:extLst>
                  <a:ext uri="{FF2B5EF4-FFF2-40B4-BE49-F238E27FC236}">
                    <a16:creationId xmlns:a16="http://schemas.microsoft.com/office/drawing/2014/main" id="{1D6908A0-7852-EC5B-21D3-736688FE8ED3}"/>
                  </a:ext>
                </a:extLst>
              </p:cNvPr>
              <p:cNvSpPr/>
              <p:nvPr/>
            </p:nvSpPr>
            <p:spPr>
              <a:xfrm>
                <a:off x="6317042" y="4964759"/>
                <a:ext cx="160369" cy="160406"/>
              </a:xfrm>
              <a:custGeom>
                <a:avLst/>
                <a:gdLst>
                  <a:gd name="connsiteX0" fmla="*/ 136814 w 160369"/>
                  <a:gd name="connsiteY0" fmla="*/ 23561 h 160406"/>
                  <a:gd name="connsiteX1" fmla="*/ 136814 w 160369"/>
                  <a:gd name="connsiteY1" fmla="*/ 136845 h 160406"/>
                  <a:gd name="connsiteX2" fmla="*/ 23556 w 160369"/>
                  <a:gd name="connsiteY2" fmla="*/ 136845 h 160406"/>
                  <a:gd name="connsiteX3" fmla="*/ 23556 w 160369"/>
                  <a:gd name="connsiteY3" fmla="*/ 23561 h 160406"/>
                  <a:gd name="connsiteX4" fmla="*/ 136814 w 160369"/>
                  <a:gd name="connsiteY4" fmla="*/ 23561 h 16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369" h="160406">
                    <a:moveTo>
                      <a:pt x="136814" y="23561"/>
                    </a:moveTo>
                    <a:cubicBezTo>
                      <a:pt x="168221" y="54976"/>
                      <a:pt x="168221" y="105430"/>
                      <a:pt x="136814" y="136845"/>
                    </a:cubicBezTo>
                    <a:cubicBezTo>
                      <a:pt x="105406" y="168260"/>
                      <a:pt x="54963" y="168260"/>
                      <a:pt x="23556" y="136845"/>
                    </a:cubicBezTo>
                    <a:cubicBezTo>
                      <a:pt x="-7852" y="105430"/>
                      <a:pt x="-7852" y="54976"/>
                      <a:pt x="23556" y="23561"/>
                    </a:cubicBezTo>
                    <a:cubicBezTo>
                      <a:pt x="54963" y="-7854"/>
                      <a:pt x="105406" y="-7854"/>
                      <a:pt x="136814" y="2356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99" name="Graphic 344">
              <a:extLst>
                <a:ext uri="{FF2B5EF4-FFF2-40B4-BE49-F238E27FC236}">
                  <a16:creationId xmlns:a16="http://schemas.microsoft.com/office/drawing/2014/main" id="{B9ED868E-3804-9D18-64CB-A925EAA2AA47}"/>
                </a:ext>
              </a:extLst>
            </p:cNvPr>
            <p:cNvGrpSpPr/>
            <p:nvPr/>
          </p:nvGrpSpPr>
          <p:grpSpPr>
            <a:xfrm>
              <a:off x="6317974" y="5420466"/>
              <a:ext cx="288198" cy="288275"/>
              <a:chOff x="6317974" y="5420466"/>
              <a:chExt cx="288198" cy="288275"/>
            </a:xfrm>
            <a:solidFill>
              <a:srgbClr val="010202"/>
            </a:solidFill>
          </p:grpSpPr>
          <p:sp>
            <p:nvSpPr>
              <p:cNvPr id="218" name="Freeform 211">
                <a:extLst>
                  <a:ext uri="{FF2B5EF4-FFF2-40B4-BE49-F238E27FC236}">
                    <a16:creationId xmlns:a16="http://schemas.microsoft.com/office/drawing/2014/main" id="{EAF7E472-A9F8-3EF6-100B-E1DA94B98CBC}"/>
                  </a:ext>
                </a:extLst>
              </p:cNvPr>
              <p:cNvSpPr/>
              <p:nvPr/>
            </p:nvSpPr>
            <p:spPr>
              <a:xfrm>
                <a:off x="6317974" y="5420466"/>
                <a:ext cx="288198" cy="288275"/>
              </a:xfrm>
              <a:custGeom>
                <a:avLst/>
                <a:gdLst>
                  <a:gd name="connsiteX0" fmla="*/ 163483 w 288198"/>
                  <a:gd name="connsiteY0" fmla="*/ 124755 h 288275"/>
                  <a:gd name="connsiteX1" fmla="*/ 226298 w 288198"/>
                  <a:gd name="connsiteY1" fmla="*/ 282782 h 288275"/>
                  <a:gd name="connsiteX2" fmla="*/ 288161 w 288198"/>
                  <a:gd name="connsiteY2" fmla="*/ 166642 h 288275"/>
                  <a:gd name="connsiteX3" fmla="*/ 234864 w 288198"/>
                  <a:gd name="connsiteY3" fmla="*/ 45742 h 288275"/>
                  <a:gd name="connsiteX4" fmla="*/ 121606 w 288198"/>
                  <a:gd name="connsiteY4" fmla="*/ 47 h 288275"/>
                  <a:gd name="connsiteX5" fmla="*/ 5493 w 288198"/>
                  <a:gd name="connsiteY5" fmla="*/ 61925 h 288275"/>
                  <a:gd name="connsiteX6" fmla="*/ 163483 w 288198"/>
                  <a:gd name="connsiteY6" fmla="*/ 124755 h 288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8198" h="288275">
                    <a:moveTo>
                      <a:pt x="163483" y="124755"/>
                    </a:moveTo>
                    <a:cubicBezTo>
                      <a:pt x="212974" y="174257"/>
                      <a:pt x="198697" y="318004"/>
                      <a:pt x="226298" y="282782"/>
                    </a:cubicBezTo>
                    <a:cubicBezTo>
                      <a:pt x="236767" y="268502"/>
                      <a:pt x="286258" y="210432"/>
                      <a:pt x="288161" y="166642"/>
                    </a:cubicBezTo>
                    <a:cubicBezTo>
                      <a:pt x="289113" y="138083"/>
                      <a:pt x="271982" y="81916"/>
                      <a:pt x="234864" y="45742"/>
                    </a:cubicBezTo>
                    <a:cubicBezTo>
                      <a:pt x="200601" y="12423"/>
                      <a:pt x="148255" y="-905"/>
                      <a:pt x="121606" y="47"/>
                    </a:cubicBezTo>
                    <a:cubicBezTo>
                      <a:pt x="76874" y="1951"/>
                      <a:pt x="18817" y="51453"/>
                      <a:pt x="5493" y="61925"/>
                    </a:cubicBezTo>
                    <a:cubicBezTo>
                      <a:pt x="-29722" y="88580"/>
                      <a:pt x="113992" y="74301"/>
                      <a:pt x="163483" y="12475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9" name="Freeform 212">
                <a:extLst>
                  <a:ext uri="{FF2B5EF4-FFF2-40B4-BE49-F238E27FC236}">
                    <a16:creationId xmlns:a16="http://schemas.microsoft.com/office/drawing/2014/main" id="{8F5105EC-35F0-531D-4BEB-5ABEB035600A}"/>
                  </a:ext>
                </a:extLst>
              </p:cNvPr>
              <p:cNvSpPr/>
              <p:nvPr/>
            </p:nvSpPr>
            <p:spPr>
              <a:xfrm>
                <a:off x="6320849" y="5545459"/>
                <a:ext cx="160369" cy="160406"/>
              </a:xfrm>
              <a:custGeom>
                <a:avLst/>
                <a:gdLst>
                  <a:gd name="connsiteX0" fmla="*/ 23556 w 160369"/>
                  <a:gd name="connsiteY0" fmla="*/ 23561 h 160406"/>
                  <a:gd name="connsiteX1" fmla="*/ 136814 w 160369"/>
                  <a:gd name="connsiteY1" fmla="*/ 23561 h 160406"/>
                  <a:gd name="connsiteX2" fmla="*/ 136814 w 160369"/>
                  <a:gd name="connsiteY2" fmla="*/ 136845 h 160406"/>
                  <a:gd name="connsiteX3" fmla="*/ 23556 w 160369"/>
                  <a:gd name="connsiteY3" fmla="*/ 136845 h 160406"/>
                  <a:gd name="connsiteX4" fmla="*/ 23556 w 160369"/>
                  <a:gd name="connsiteY4" fmla="*/ 23561 h 16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369" h="160406">
                    <a:moveTo>
                      <a:pt x="23556" y="23561"/>
                    </a:moveTo>
                    <a:cubicBezTo>
                      <a:pt x="54963" y="-7854"/>
                      <a:pt x="105406" y="-7854"/>
                      <a:pt x="136814" y="23561"/>
                    </a:cubicBezTo>
                    <a:cubicBezTo>
                      <a:pt x="168221" y="54976"/>
                      <a:pt x="168221" y="105431"/>
                      <a:pt x="136814" y="136845"/>
                    </a:cubicBezTo>
                    <a:cubicBezTo>
                      <a:pt x="105406" y="168260"/>
                      <a:pt x="54963" y="168260"/>
                      <a:pt x="23556" y="136845"/>
                    </a:cubicBezTo>
                    <a:cubicBezTo>
                      <a:pt x="-7852" y="105431"/>
                      <a:pt x="-7852" y="54976"/>
                      <a:pt x="23556" y="2356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0" name="Graphic 344">
              <a:extLst>
                <a:ext uri="{FF2B5EF4-FFF2-40B4-BE49-F238E27FC236}">
                  <a16:creationId xmlns:a16="http://schemas.microsoft.com/office/drawing/2014/main" id="{45850688-4084-21AA-C66D-B83DAF9C0751}"/>
                </a:ext>
              </a:extLst>
            </p:cNvPr>
            <p:cNvGrpSpPr/>
            <p:nvPr/>
          </p:nvGrpSpPr>
          <p:grpSpPr>
            <a:xfrm>
              <a:off x="6776450" y="5416668"/>
              <a:ext cx="288208" cy="288295"/>
              <a:chOff x="6776450" y="5416668"/>
              <a:chExt cx="288208" cy="288295"/>
            </a:xfrm>
            <a:solidFill>
              <a:srgbClr val="010202"/>
            </a:solidFill>
          </p:grpSpPr>
          <p:sp>
            <p:nvSpPr>
              <p:cNvPr id="216" name="Freeform 209">
                <a:extLst>
                  <a:ext uri="{FF2B5EF4-FFF2-40B4-BE49-F238E27FC236}">
                    <a16:creationId xmlns:a16="http://schemas.microsoft.com/office/drawing/2014/main" id="{F2AB6679-5AC0-D291-5664-760274927238}"/>
                  </a:ext>
                </a:extLst>
              </p:cNvPr>
              <p:cNvSpPr/>
              <p:nvPr/>
            </p:nvSpPr>
            <p:spPr>
              <a:xfrm>
                <a:off x="6776450" y="5416668"/>
                <a:ext cx="288208" cy="288295"/>
              </a:xfrm>
              <a:custGeom>
                <a:avLst/>
                <a:gdLst>
                  <a:gd name="connsiteX0" fmla="*/ 124726 w 288208"/>
                  <a:gd name="connsiteY0" fmla="*/ 124745 h 288295"/>
                  <a:gd name="connsiteX1" fmla="*/ 282716 w 288208"/>
                  <a:gd name="connsiteY1" fmla="*/ 61915 h 288295"/>
                  <a:gd name="connsiteX2" fmla="*/ 166603 w 288208"/>
                  <a:gd name="connsiteY2" fmla="*/ 38 h 288295"/>
                  <a:gd name="connsiteX3" fmla="*/ 45731 w 288208"/>
                  <a:gd name="connsiteY3" fmla="*/ 53348 h 288295"/>
                  <a:gd name="connsiteX4" fmla="*/ 47 w 288208"/>
                  <a:gd name="connsiteY4" fmla="*/ 166632 h 288295"/>
                  <a:gd name="connsiteX5" fmla="*/ 61911 w 288208"/>
                  <a:gd name="connsiteY5" fmla="*/ 282772 h 288295"/>
                  <a:gd name="connsiteX6" fmla="*/ 124726 w 288208"/>
                  <a:gd name="connsiteY6" fmla="*/ 124745 h 28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8208" h="288295">
                    <a:moveTo>
                      <a:pt x="124726" y="124745"/>
                    </a:moveTo>
                    <a:cubicBezTo>
                      <a:pt x="174217" y="75243"/>
                      <a:pt x="317931" y="89523"/>
                      <a:pt x="282716" y="61915"/>
                    </a:cubicBezTo>
                    <a:cubicBezTo>
                      <a:pt x="268440" y="51444"/>
                      <a:pt x="210383" y="1942"/>
                      <a:pt x="166603" y="38"/>
                    </a:cubicBezTo>
                    <a:cubicBezTo>
                      <a:pt x="138051" y="-914"/>
                      <a:pt x="81898" y="16221"/>
                      <a:pt x="45731" y="53348"/>
                    </a:cubicBezTo>
                    <a:cubicBezTo>
                      <a:pt x="12420" y="87619"/>
                      <a:pt x="-904" y="139977"/>
                      <a:pt x="47" y="166632"/>
                    </a:cubicBezTo>
                    <a:cubicBezTo>
                      <a:pt x="1951" y="211374"/>
                      <a:pt x="51442" y="269444"/>
                      <a:pt x="61911" y="282772"/>
                    </a:cubicBezTo>
                    <a:cubicBezTo>
                      <a:pt x="88560" y="317995"/>
                      <a:pt x="74283" y="175200"/>
                      <a:pt x="124726" y="12474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7" name="Freeform 210">
                <a:extLst>
                  <a:ext uri="{FF2B5EF4-FFF2-40B4-BE49-F238E27FC236}">
                    <a16:creationId xmlns:a16="http://schemas.microsoft.com/office/drawing/2014/main" id="{B13F3051-0F87-96CE-89B0-4F05CBF6C2C8}"/>
                  </a:ext>
                </a:extLst>
              </p:cNvPr>
              <p:cNvSpPr/>
              <p:nvPr/>
            </p:nvSpPr>
            <p:spPr>
              <a:xfrm>
                <a:off x="6901414" y="5542603"/>
                <a:ext cx="160369" cy="159692"/>
              </a:xfrm>
              <a:custGeom>
                <a:avLst/>
                <a:gdLst>
                  <a:gd name="connsiteX0" fmla="*/ 23556 w 160369"/>
                  <a:gd name="connsiteY0" fmla="*/ 136845 h 159692"/>
                  <a:gd name="connsiteX1" fmla="*/ 23556 w 160369"/>
                  <a:gd name="connsiteY1" fmla="*/ 23561 h 159692"/>
                  <a:gd name="connsiteX2" fmla="*/ 136814 w 160369"/>
                  <a:gd name="connsiteY2" fmla="*/ 23561 h 159692"/>
                  <a:gd name="connsiteX3" fmla="*/ 136814 w 160369"/>
                  <a:gd name="connsiteY3" fmla="*/ 136845 h 159692"/>
                  <a:gd name="connsiteX4" fmla="*/ 23556 w 160369"/>
                  <a:gd name="connsiteY4" fmla="*/ 136845 h 159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369" h="159692">
                    <a:moveTo>
                      <a:pt x="23556" y="136845"/>
                    </a:moveTo>
                    <a:cubicBezTo>
                      <a:pt x="-7852" y="105430"/>
                      <a:pt x="-7852" y="54976"/>
                      <a:pt x="23556" y="23561"/>
                    </a:cubicBezTo>
                    <a:cubicBezTo>
                      <a:pt x="54963" y="-7854"/>
                      <a:pt x="105406" y="-7854"/>
                      <a:pt x="136814" y="23561"/>
                    </a:cubicBezTo>
                    <a:cubicBezTo>
                      <a:pt x="168221" y="54976"/>
                      <a:pt x="168221" y="105430"/>
                      <a:pt x="136814" y="136845"/>
                    </a:cubicBezTo>
                    <a:cubicBezTo>
                      <a:pt x="105406" y="167308"/>
                      <a:pt x="54963" y="167308"/>
                      <a:pt x="23556" y="13684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1" name="Graphic 344">
              <a:extLst>
                <a:ext uri="{FF2B5EF4-FFF2-40B4-BE49-F238E27FC236}">
                  <a16:creationId xmlns:a16="http://schemas.microsoft.com/office/drawing/2014/main" id="{75C3E9B7-4F6F-E525-596E-001614EAF5B7}"/>
                </a:ext>
              </a:extLst>
            </p:cNvPr>
            <p:cNvGrpSpPr/>
            <p:nvPr/>
          </p:nvGrpSpPr>
          <p:grpSpPr>
            <a:xfrm>
              <a:off x="6772653" y="4959027"/>
              <a:ext cx="288228" cy="288275"/>
              <a:chOff x="6772653" y="4959027"/>
              <a:chExt cx="288228" cy="288275"/>
            </a:xfrm>
            <a:solidFill>
              <a:srgbClr val="010202"/>
            </a:solidFill>
          </p:grpSpPr>
          <p:sp>
            <p:nvSpPr>
              <p:cNvPr id="214" name="Freeform 207">
                <a:extLst>
                  <a:ext uri="{FF2B5EF4-FFF2-40B4-BE49-F238E27FC236}">
                    <a16:creationId xmlns:a16="http://schemas.microsoft.com/office/drawing/2014/main" id="{98FF0FE5-941D-AE68-9B82-C5FE9D5A68D0}"/>
                  </a:ext>
                </a:extLst>
              </p:cNvPr>
              <p:cNvSpPr/>
              <p:nvPr/>
            </p:nvSpPr>
            <p:spPr>
              <a:xfrm>
                <a:off x="6772653" y="4959027"/>
                <a:ext cx="288228" cy="288275"/>
              </a:xfrm>
              <a:custGeom>
                <a:avLst/>
                <a:gdLst>
                  <a:gd name="connsiteX0" fmla="*/ 124716 w 288228"/>
                  <a:gd name="connsiteY0" fmla="*/ 163521 h 288275"/>
                  <a:gd name="connsiteX1" fmla="*/ 61901 w 288228"/>
                  <a:gd name="connsiteY1" fmla="*/ 5494 h 288275"/>
                  <a:gd name="connsiteX2" fmla="*/ 38 w 288228"/>
                  <a:gd name="connsiteY2" fmla="*/ 121634 h 288275"/>
                  <a:gd name="connsiteX3" fmla="*/ 53335 w 288228"/>
                  <a:gd name="connsiteY3" fmla="*/ 242534 h 288275"/>
                  <a:gd name="connsiteX4" fmla="*/ 166593 w 288228"/>
                  <a:gd name="connsiteY4" fmla="*/ 288228 h 288275"/>
                  <a:gd name="connsiteX5" fmla="*/ 282706 w 288228"/>
                  <a:gd name="connsiteY5" fmla="*/ 226350 h 288275"/>
                  <a:gd name="connsiteX6" fmla="*/ 124716 w 288228"/>
                  <a:gd name="connsiteY6" fmla="*/ 163521 h 288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8228" h="288275">
                    <a:moveTo>
                      <a:pt x="124716" y="163521"/>
                    </a:moveTo>
                    <a:cubicBezTo>
                      <a:pt x="75225" y="114018"/>
                      <a:pt x="89502" y="-29728"/>
                      <a:pt x="61901" y="5494"/>
                    </a:cubicBezTo>
                    <a:cubicBezTo>
                      <a:pt x="51432" y="19774"/>
                      <a:pt x="1941" y="77844"/>
                      <a:pt x="38" y="121634"/>
                    </a:cubicBezTo>
                    <a:cubicBezTo>
                      <a:pt x="-914" y="150193"/>
                      <a:pt x="16217" y="206359"/>
                      <a:pt x="53335" y="242534"/>
                    </a:cubicBezTo>
                    <a:cubicBezTo>
                      <a:pt x="87598" y="275853"/>
                      <a:pt x="139944" y="289180"/>
                      <a:pt x="166593" y="288228"/>
                    </a:cubicBezTo>
                    <a:cubicBezTo>
                      <a:pt x="211325" y="286324"/>
                      <a:pt x="269382" y="236822"/>
                      <a:pt x="282706" y="226350"/>
                    </a:cubicBezTo>
                    <a:cubicBezTo>
                      <a:pt x="317921" y="198743"/>
                      <a:pt x="175159" y="213023"/>
                      <a:pt x="124716" y="16352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5" name="Freeform 208">
                <a:extLst>
                  <a:ext uri="{FF2B5EF4-FFF2-40B4-BE49-F238E27FC236}">
                    <a16:creationId xmlns:a16="http://schemas.microsoft.com/office/drawing/2014/main" id="{B7AF4DAA-4E62-87F7-035A-4FE57595675A}"/>
                  </a:ext>
                </a:extLst>
              </p:cNvPr>
              <p:cNvSpPr/>
              <p:nvPr/>
            </p:nvSpPr>
            <p:spPr>
              <a:xfrm>
                <a:off x="6898559" y="4960951"/>
                <a:ext cx="159655" cy="160406"/>
              </a:xfrm>
              <a:custGeom>
                <a:avLst/>
                <a:gdLst>
                  <a:gd name="connsiteX0" fmla="*/ 136814 w 159655"/>
                  <a:gd name="connsiteY0" fmla="*/ 136845 h 160406"/>
                  <a:gd name="connsiteX1" fmla="*/ 23556 w 159655"/>
                  <a:gd name="connsiteY1" fmla="*/ 136845 h 160406"/>
                  <a:gd name="connsiteX2" fmla="*/ 23556 w 159655"/>
                  <a:gd name="connsiteY2" fmla="*/ 23561 h 160406"/>
                  <a:gd name="connsiteX3" fmla="*/ 136814 w 159655"/>
                  <a:gd name="connsiteY3" fmla="*/ 23561 h 160406"/>
                  <a:gd name="connsiteX4" fmla="*/ 136814 w 159655"/>
                  <a:gd name="connsiteY4" fmla="*/ 136845 h 16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655" h="160406">
                    <a:moveTo>
                      <a:pt x="136814" y="136845"/>
                    </a:moveTo>
                    <a:cubicBezTo>
                      <a:pt x="105406" y="168260"/>
                      <a:pt x="54963" y="168260"/>
                      <a:pt x="23556" y="136845"/>
                    </a:cubicBezTo>
                    <a:cubicBezTo>
                      <a:pt x="-7852" y="105430"/>
                      <a:pt x="-7852" y="54976"/>
                      <a:pt x="23556" y="23561"/>
                    </a:cubicBezTo>
                    <a:cubicBezTo>
                      <a:pt x="54963" y="-7854"/>
                      <a:pt x="105406" y="-7854"/>
                      <a:pt x="136814" y="23561"/>
                    </a:cubicBezTo>
                    <a:cubicBezTo>
                      <a:pt x="167270" y="54976"/>
                      <a:pt x="167270" y="105430"/>
                      <a:pt x="136814" y="13684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254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Graphic 344">
              <a:extLst>
                <a:ext uri="{FF2B5EF4-FFF2-40B4-BE49-F238E27FC236}">
                  <a16:creationId xmlns:a16="http://schemas.microsoft.com/office/drawing/2014/main" id="{CBFE96D4-4194-6B77-864D-295F923227A6}"/>
                </a:ext>
              </a:extLst>
            </p:cNvPr>
            <p:cNvGrpSpPr/>
            <p:nvPr/>
          </p:nvGrpSpPr>
          <p:grpSpPr>
            <a:xfrm>
              <a:off x="6530692" y="4842746"/>
              <a:ext cx="313557" cy="299817"/>
              <a:chOff x="6530692" y="4842746"/>
              <a:chExt cx="313557" cy="299817"/>
            </a:xfrm>
            <a:noFill/>
          </p:grpSpPr>
          <p:sp>
            <p:nvSpPr>
              <p:cNvPr id="212" name="Freeform 205">
                <a:extLst>
                  <a:ext uri="{FF2B5EF4-FFF2-40B4-BE49-F238E27FC236}">
                    <a16:creationId xmlns:a16="http://schemas.microsoft.com/office/drawing/2014/main" id="{3ABDAC93-1D8B-3868-1777-1971FD283280}"/>
                  </a:ext>
                </a:extLst>
              </p:cNvPr>
              <p:cNvSpPr/>
              <p:nvPr/>
            </p:nvSpPr>
            <p:spPr>
              <a:xfrm>
                <a:off x="6530692" y="4959081"/>
                <a:ext cx="313557" cy="183482"/>
              </a:xfrm>
              <a:custGeom>
                <a:avLst/>
                <a:gdLst>
                  <a:gd name="connsiteX0" fmla="*/ 156341 w 313557"/>
                  <a:gd name="connsiteY0" fmla="*/ 77790 h 183482"/>
                  <a:gd name="connsiteX1" fmla="*/ 255 w 313557"/>
                  <a:gd name="connsiteY1" fmla="*/ 10200 h 183482"/>
                  <a:gd name="connsiteX2" fmla="*/ 39276 w 313557"/>
                  <a:gd name="connsiteY2" fmla="*/ 135860 h 183482"/>
                  <a:gd name="connsiteX3" fmla="*/ 162052 w 313557"/>
                  <a:gd name="connsiteY3" fmla="*/ 183458 h 183482"/>
                  <a:gd name="connsiteX4" fmla="*/ 274358 w 313557"/>
                  <a:gd name="connsiteY4" fmla="*/ 135860 h 183482"/>
                  <a:gd name="connsiteX5" fmla="*/ 313379 w 313557"/>
                  <a:gd name="connsiteY5" fmla="*/ 10200 h 183482"/>
                  <a:gd name="connsiteX6" fmla="*/ 156341 w 313557"/>
                  <a:gd name="connsiteY6" fmla="*/ 77790 h 18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557" h="183482">
                    <a:moveTo>
                      <a:pt x="156341" y="77790"/>
                    </a:moveTo>
                    <a:cubicBezTo>
                      <a:pt x="85912" y="77790"/>
                      <a:pt x="-5456" y="-33590"/>
                      <a:pt x="255" y="10200"/>
                    </a:cubicBezTo>
                    <a:cubicBezTo>
                      <a:pt x="2158" y="27336"/>
                      <a:pt x="8821" y="103493"/>
                      <a:pt x="39276" y="135860"/>
                    </a:cubicBezTo>
                    <a:cubicBezTo>
                      <a:pt x="58311" y="156803"/>
                      <a:pt x="110657" y="184410"/>
                      <a:pt x="162052" y="183458"/>
                    </a:cubicBezTo>
                    <a:cubicBezTo>
                      <a:pt x="209639" y="182506"/>
                      <a:pt x="256275" y="154899"/>
                      <a:pt x="274358" y="135860"/>
                    </a:cubicBezTo>
                    <a:cubicBezTo>
                      <a:pt x="304814" y="103493"/>
                      <a:pt x="310524" y="27336"/>
                      <a:pt x="313379" y="10200"/>
                    </a:cubicBezTo>
                    <a:cubicBezTo>
                      <a:pt x="318138" y="-33590"/>
                      <a:pt x="226770" y="77790"/>
                      <a:pt x="156341" y="77790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3" name="Freeform 206">
                <a:extLst>
                  <a:ext uri="{FF2B5EF4-FFF2-40B4-BE49-F238E27FC236}">
                    <a16:creationId xmlns:a16="http://schemas.microsoft.com/office/drawing/2014/main" id="{FC7CC5CE-DFC5-7619-1E35-A3CE85A86E77}"/>
                  </a:ext>
                </a:extLst>
              </p:cNvPr>
              <p:cNvSpPr/>
              <p:nvPr/>
            </p:nvSpPr>
            <p:spPr>
              <a:xfrm rot="-243897">
                <a:off x="6607154" y="4842746"/>
                <a:ext cx="159895" cy="159932"/>
              </a:xfrm>
              <a:custGeom>
                <a:avLst/>
                <a:gdLst>
                  <a:gd name="connsiteX0" fmla="*/ 159896 w 159895"/>
                  <a:gd name="connsiteY0" fmla="*/ 79966 h 159932"/>
                  <a:gd name="connsiteX1" fmla="*/ 79948 w 159895"/>
                  <a:gd name="connsiteY1" fmla="*/ 159933 h 159932"/>
                  <a:gd name="connsiteX2" fmla="*/ 0 w 159895"/>
                  <a:gd name="connsiteY2" fmla="*/ 79966 h 159932"/>
                  <a:gd name="connsiteX3" fmla="*/ 79948 w 159895"/>
                  <a:gd name="connsiteY3" fmla="*/ 0 h 159932"/>
                  <a:gd name="connsiteX4" fmla="*/ 159896 w 159895"/>
                  <a:gd name="connsiteY4" fmla="*/ 79966 h 159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895" h="159932">
                    <a:moveTo>
                      <a:pt x="159896" y="79966"/>
                    </a:moveTo>
                    <a:cubicBezTo>
                      <a:pt x="159896" y="124131"/>
                      <a:pt x="124102" y="159933"/>
                      <a:pt x="79948" y="159933"/>
                    </a:cubicBezTo>
                    <a:cubicBezTo>
                      <a:pt x="35794" y="159933"/>
                      <a:pt x="0" y="124131"/>
                      <a:pt x="0" y="79966"/>
                    </a:cubicBezTo>
                    <a:cubicBezTo>
                      <a:pt x="0" y="35802"/>
                      <a:pt x="35794" y="0"/>
                      <a:pt x="79948" y="0"/>
                    </a:cubicBezTo>
                    <a:cubicBezTo>
                      <a:pt x="124102" y="0"/>
                      <a:pt x="159896" y="35802"/>
                      <a:pt x="159896" y="79966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Graphic 344">
              <a:extLst>
                <a:ext uri="{FF2B5EF4-FFF2-40B4-BE49-F238E27FC236}">
                  <a16:creationId xmlns:a16="http://schemas.microsoft.com/office/drawing/2014/main" id="{53EA3342-C645-8E20-0D32-C20E98481B29}"/>
                </a:ext>
              </a:extLst>
            </p:cNvPr>
            <p:cNvGrpSpPr/>
            <p:nvPr/>
          </p:nvGrpSpPr>
          <p:grpSpPr>
            <a:xfrm>
              <a:off x="6198788" y="5178535"/>
              <a:ext cx="299823" cy="313630"/>
              <a:chOff x="6198788" y="5178535"/>
              <a:chExt cx="299823" cy="313630"/>
            </a:xfrm>
            <a:noFill/>
          </p:grpSpPr>
          <p:sp>
            <p:nvSpPr>
              <p:cNvPr id="210" name="Freeform 203">
                <a:extLst>
                  <a:ext uri="{FF2B5EF4-FFF2-40B4-BE49-F238E27FC236}">
                    <a16:creationId xmlns:a16="http://schemas.microsoft.com/office/drawing/2014/main" id="{2DF8ABF6-81E0-7D0E-E5FA-F28E82B48F01}"/>
                  </a:ext>
                </a:extLst>
              </p:cNvPr>
              <p:cNvSpPr/>
              <p:nvPr/>
            </p:nvSpPr>
            <p:spPr>
              <a:xfrm>
                <a:off x="6315172" y="5178535"/>
                <a:ext cx="183439" cy="313630"/>
              </a:xfrm>
              <a:custGeom>
                <a:avLst/>
                <a:gdLst>
                  <a:gd name="connsiteX0" fmla="*/ 77772 w 183439"/>
                  <a:gd name="connsiteY0" fmla="*/ 157253 h 313630"/>
                  <a:gd name="connsiteX1" fmla="*/ 10198 w 183439"/>
                  <a:gd name="connsiteY1" fmla="*/ 313376 h 313630"/>
                  <a:gd name="connsiteX2" fmla="*/ 135828 w 183439"/>
                  <a:gd name="connsiteY2" fmla="*/ 274345 h 313630"/>
                  <a:gd name="connsiteX3" fmla="*/ 183416 w 183439"/>
                  <a:gd name="connsiteY3" fmla="*/ 151541 h 313630"/>
                  <a:gd name="connsiteX4" fmla="*/ 135828 w 183439"/>
                  <a:gd name="connsiteY4" fmla="*/ 39209 h 313630"/>
                  <a:gd name="connsiteX5" fmla="*/ 10198 w 183439"/>
                  <a:gd name="connsiteY5" fmla="*/ 179 h 313630"/>
                  <a:gd name="connsiteX6" fmla="*/ 77772 w 183439"/>
                  <a:gd name="connsiteY6" fmla="*/ 157253 h 31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439" h="313630">
                    <a:moveTo>
                      <a:pt x="77772" y="157253"/>
                    </a:moveTo>
                    <a:cubicBezTo>
                      <a:pt x="77772" y="227699"/>
                      <a:pt x="-33582" y="319087"/>
                      <a:pt x="10198" y="313376"/>
                    </a:cubicBezTo>
                    <a:cubicBezTo>
                      <a:pt x="27329" y="311472"/>
                      <a:pt x="103469" y="304808"/>
                      <a:pt x="135828" y="274345"/>
                    </a:cubicBezTo>
                    <a:cubicBezTo>
                      <a:pt x="156767" y="255306"/>
                      <a:pt x="184367" y="202948"/>
                      <a:pt x="183416" y="151541"/>
                    </a:cubicBezTo>
                    <a:cubicBezTo>
                      <a:pt x="182464" y="103943"/>
                      <a:pt x="154863" y="57297"/>
                      <a:pt x="135828" y="39209"/>
                    </a:cubicBezTo>
                    <a:cubicBezTo>
                      <a:pt x="103469" y="8746"/>
                      <a:pt x="27329" y="3035"/>
                      <a:pt x="10198" y="179"/>
                    </a:cubicBezTo>
                    <a:cubicBezTo>
                      <a:pt x="-33582" y="-4581"/>
                      <a:pt x="77772" y="86808"/>
                      <a:pt x="77772" y="157253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1" name="Freeform 204">
                <a:extLst>
                  <a:ext uri="{FF2B5EF4-FFF2-40B4-BE49-F238E27FC236}">
                    <a16:creationId xmlns:a16="http://schemas.microsoft.com/office/drawing/2014/main" id="{282AC33F-4FB1-B08D-8C26-8838023999F9}"/>
                  </a:ext>
                </a:extLst>
              </p:cNvPr>
              <p:cNvSpPr/>
              <p:nvPr/>
            </p:nvSpPr>
            <p:spPr>
              <a:xfrm>
                <a:off x="6198788" y="5255823"/>
                <a:ext cx="159893" cy="159930"/>
              </a:xfrm>
              <a:custGeom>
                <a:avLst/>
                <a:gdLst>
                  <a:gd name="connsiteX0" fmla="*/ 79947 w 159893"/>
                  <a:gd name="connsiteY0" fmla="*/ 0 h 159930"/>
                  <a:gd name="connsiteX1" fmla="*/ 159893 w 159893"/>
                  <a:gd name="connsiteY1" fmla="*/ 79965 h 159930"/>
                  <a:gd name="connsiteX2" fmla="*/ 79947 w 159893"/>
                  <a:gd name="connsiteY2" fmla="*/ 159931 h 159930"/>
                  <a:gd name="connsiteX3" fmla="*/ 0 w 159893"/>
                  <a:gd name="connsiteY3" fmla="*/ 79965 h 159930"/>
                  <a:gd name="connsiteX4" fmla="*/ 79947 w 159893"/>
                  <a:gd name="connsiteY4" fmla="*/ 0 h 159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893" h="159930">
                    <a:moveTo>
                      <a:pt x="79947" y="0"/>
                    </a:moveTo>
                    <a:cubicBezTo>
                      <a:pt x="123727" y="0"/>
                      <a:pt x="159893" y="36175"/>
                      <a:pt x="159893" y="79965"/>
                    </a:cubicBezTo>
                    <a:cubicBezTo>
                      <a:pt x="159893" y="123756"/>
                      <a:pt x="123727" y="159931"/>
                      <a:pt x="79947" y="159931"/>
                    </a:cubicBezTo>
                    <a:cubicBezTo>
                      <a:pt x="36167" y="159931"/>
                      <a:pt x="0" y="123756"/>
                      <a:pt x="0" y="79965"/>
                    </a:cubicBezTo>
                    <a:cubicBezTo>
                      <a:pt x="0" y="36175"/>
                      <a:pt x="36167" y="0"/>
                      <a:pt x="79947" y="0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Graphic 344">
              <a:extLst>
                <a:ext uri="{FF2B5EF4-FFF2-40B4-BE49-F238E27FC236}">
                  <a16:creationId xmlns:a16="http://schemas.microsoft.com/office/drawing/2014/main" id="{E56C52E4-70B1-0F53-BE66-5F675E536CED}"/>
                </a:ext>
              </a:extLst>
            </p:cNvPr>
            <p:cNvGrpSpPr/>
            <p:nvPr/>
          </p:nvGrpSpPr>
          <p:grpSpPr>
            <a:xfrm>
              <a:off x="6534576" y="5524253"/>
              <a:ext cx="313557" cy="299893"/>
              <a:chOff x="6534576" y="5524253"/>
              <a:chExt cx="313557" cy="299893"/>
            </a:xfrm>
            <a:noFill/>
          </p:grpSpPr>
          <p:sp>
            <p:nvSpPr>
              <p:cNvPr id="208" name="Freeform 201">
                <a:extLst>
                  <a:ext uri="{FF2B5EF4-FFF2-40B4-BE49-F238E27FC236}">
                    <a16:creationId xmlns:a16="http://schemas.microsoft.com/office/drawing/2014/main" id="{99487F18-92C4-F7CF-4459-455D8621EB0D}"/>
                  </a:ext>
                </a:extLst>
              </p:cNvPr>
              <p:cNvSpPr/>
              <p:nvPr/>
            </p:nvSpPr>
            <p:spPr>
              <a:xfrm>
                <a:off x="6534576" y="5524253"/>
                <a:ext cx="313557" cy="183482"/>
              </a:xfrm>
              <a:custGeom>
                <a:avLst/>
                <a:gdLst>
                  <a:gd name="connsiteX0" fmla="*/ 157217 w 313557"/>
                  <a:gd name="connsiteY0" fmla="*/ 105693 h 183482"/>
                  <a:gd name="connsiteX1" fmla="*/ 313303 w 313557"/>
                  <a:gd name="connsiteY1" fmla="*/ 173282 h 183482"/>
                  <a:gd name="connsiteX2" fmla="*/ 274281 w 313557"/>
                  <a:gd name="connsiteY2" fmla="*/ 47622 h 183482"/>
                  <a:gd name="connsiteX3" fmla="*/ 151506 w 313557"/>
                  <a:gd name="connsiteY3" fmla="*/ 24 h 183482"/>
                  <a:gd name="connsiteX4" fmla="*/ 39200 w 313557"/>
                  <a:gd name="connsiteY4" fmla="*/ 47622 h 183482"/>
                  <a:gd name="connsiteX5" fmla="*/ 179 w 313557"/>
                  <a:gd name="connsiteY5" fmla="*/ 173282 h 183482"/>
                  <a:gd name="connsiteX6" fmla="*/ 157217 w 313557"/>
                  <a:gd name="connsiteY6" fmla="*/ 105693 h 18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557" h="183482">
                    <a:moveTo>
                      <a:pt x="157217" y="105693"/>
                    </a:moveTo>
                    <a:cubicBezTo>
                      <a:pt x="227646" y="105693"/>
                      <a:pt x="319013" y="217073"/>
                      <a:pt x="313303" y="173282"/>
                    </a:cubicBezTo>
                    <a:cubicBezTo>
                      <a:pt x="311399" y="156147"/>
                      <a:pt x="304737" y="79989"/>
                      <a:pt x="274281" y="47622"/>
                    </a:cubicBezTo>
                    <a:cubicBezTo>
                      <a:pt x="255246" y="26679"/>
                      <a:pt x="202900" y="-928"/>
                      <a:pt x="151506" y="24"/>
                    </a:cubicBezTo>
                    <a:cubicBezTo>
                      <a:pt x="103919" y="976"/>
                      <a:pt x="57283" y="28583"/>
                      <a:pt x="39200" y="47622"/>
                    </a:cubicBezTo>
                    <a:cubicBezTo>
                      <a:pt x="8744" y="79989"/>
                      <a:pt x="3034" y="156147"/>
                      <a:pt x="179" y="173282"/>
                    </a:cubicBezTo>
                    <a:cubicBezTo>
                      <a:pt x="-4580" y="217073"/>
                      <a:pt x="86787" y="105693"/>
                      <a:pt x="157217" y="105693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09" name="Freeform 202">
                <a:extLst>
                  <a:ext uri="{FF2B5EF4-FFF2-40B4-BE49-F238E27FC236}">
                    <a16:creationId xmlns:a16="http://schemas.microsoft.com/office/drawing/2014/main" id="{E9F4DD39-45DA-CC68-32C2-32526A380ADC}"/>
                  </a:ext>
                </a:extLst>
              </p:cNvPr>
              <p:cNvSpPr/>
              <p:nvPr/>
            </p:nvSpPr>
            <p:spPr>
              <a:xfrm>
                <a:off x="6611846" y="5664216"/>
                <a:ext cx="159893" cy="159930"/>
              </a:xfrm>
              <a:custGeom>
                <a:avLst/>
                <a:gdLst>
                  <a:gd name="connsiteX0" fmla="*/ 0 w 159893"/>
                  <a:gd name="connsiteY0" fmla="*/ 79965 h 159930"/>
                  <a:gd name="connsiteX1" fmla="*/ 79947 w 159893"/>
                  <a:gd name="connsiteY1" fmla="*/ 0 h 159930"/>
                  <a:gd name="connsiteX2" fmla="*/ 159893 w 159893"/>
                  <a:gd name="connsiteY2" fmla="*/ 79965 h 159930"/>
                  <a:gd name="connsiteX3" fmla="*/ 79947 w 159893"/>
                  <a:gd name="connsiteY3" fmla="*/ 159930 h 159930"/>
                  <a:gd name="connsiteX4" fmla="*/ 0 w 159893"/>
                  <a:gd name="connsiteY4" fmla="*/ 79965 h 159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893" h="159930">
                    <a:moveTo>
                      <a:pt x="0" y="79965"/>
                    </a:moveTo>
                    <a:cubicBezTo>
                      <a:pt x="0" y="36175"/>
                      <a:pt x="36166" y="0"/>
                      <a:pt x="79947" y="0"/>
                    </a:cubicBezTo>
                    <a:cubicBezTo>
                      <a:pt x="123727" y="0"/>
                      <a:pt x="159893" y="36175"/>
                      <a:pt x="159893" y="79965"/>
                    </a:cubicBezTo>
                    <a:cubicBezTo>
                      <a:pt x="159893" y="123756"/>
                      <a:pt x="123727" y="159930"/>
                      <a:pt x="79947" y="159930"/>
                    </a:cubicBezTo>
                    <a:cubicBezTo>
                      <a:pt x="36166" y="159930"/>
                      <a:pt x="0" y="124708"/>
                      <a:pt x="0" y="79965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Graphic 344">
              <a:extLst>
                <a:ext uri="{FF2B5EF4-FFF2-40B4-BE49-F238E27FC236}">
                  <a16:creationId xmlns:a16="http://schemas.microsoft.com/office/drawing/2014/main" id="{057A111B-1176-6718-ACF9-13C55E87C693}"/>
                </a:ext>
              </a:extLst>
            </p:cNvPr>
            <p:cNvGrpSpPr/>
            <p:nvPr/>
          </p:nvGrpSpPr>
          <p:grpSpPr>
            <a:xfrm>
              <a:off x="6880214" y="5174651"/>
              <a:ext cx="299823" cy="313630"/>
              <a:chOff x="6880214" y="5174651"/>
              <a:chExt cx="299823" cy="313630"/>
            </a:xfrm>
            <a:noFill/>
          </p:grpSpPr>
          <p:sp>
            <p:nvSpPr>
              <p:cNvPr id="206" name="Freeform 199">
                <a:extLst>
                  <a:ext uri="{FF2B5EF4-FFF2-40B4-BE49-F238E27FC236}">
                    <a16:creationId xmlns:a16="http://schemas.microsoft.com/office/drawing/2014/main" id="{7BE321CA-10FC-89C1-BA1B-0C81516FD1DE}"/>
                  </a:ext>
                </a:extLst>
              </p:cNvPr>
              <p:cNvSpPr/>
              <p:nvPr/>
            </p:nvSpPr>
            <p:spPr>
              <a:xfrm>
                <a:off x="6880214" y="5174651"/>
                <a:ext cx="183439" cy="313630"/>
              </a:xfrm>
              <a:custGeom>
                <a:avLst/>
                <a:gdLst>
                  <a:gd name="connsiteX0" fmla="*/ 105668 w 183439"/>
                  <a:gd name="connsiteY0" fmla="*/ 156378 h 313630"/>
                  <a:gd name="connsiteX1" fmla="*/ 173242 w 183439"/>
                  <a:gd name="connsiteY1" fmla="*/ 255 h 313630"/>
                  <a:gd name="connsiteX2" fmla="*/ 47611 w 183439"/>
                  <a:gd name="connsiteY2" fmla="*/ 39286 h 313630"/>
                  <a:gd name="connsiteX3" fmla="*/ 24 w 183439"/>
                  <a:gd name="connsiteY3" fmla="*/ 162089 h 313630"/>
                  <a:gd name="connsiteX4" fmla="*/ 47611 w 183439"/>
                  <a:gd name="connsiteY4" fmla="*/ 274422 h 313630"/>
                  <a:gd name="connsiteX5" fmla="*/ 173242 w 183439"/>
                  <a:gd name="connsiteY5" fmla="*/ 313452 h 313630"/>
                  <a:gd name="connsiteX6" fmla="*/ 105668 w 183439"/>
                  <a:gd name="connsiteY6" fmla="*/ 156378 h 31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439" h="313630">
                    <a:moveTo>
                      <a:pt x="105668" y="156378"/>
                    </a:moveTo>
                    <a:cubicBezTo>
                      <a:pt x="105668" y="85932"/>
                      <a:pt x="217022" y="-5457"/>
                      <a:pt x="173242" y="255"/>
                    </a:cubicBezTo>
                    <a:cubicBezTo>
                      <a:pt x="156110" y="2159"/>
                      <a:pt x="79971" y="8823"/>
                      <a:pt x="47611" y="39286"/>
                    </a:cubicBezTo>
                    <a:cubicBezTo>
                      <a:pt x="26673" y="58325"/>
                      <a:pt x="-928" y="110683"/>
                      <a:pt x="24" y="162089"/>
                    </a:cubicBezTo>
                    <a:cubicBezTo>
                      <a:pt x="976" y="209688"/>
                      <a:pt x="28576" y="256334"/>
                      <a:pt x="47611" y="274422"/>
                    </a:cubicBezTo>
                    <a:cubicBezTo>
                      <a:pt x="79971" y="304885"/>
                      <a:pt x="156110" y="310596"/>
                      <a:pt x="173242" y="313452"/>
                    </a:cubicBezTo>
                    <a:cubicBezTo>
                      <a:pt x="217022" y="318212"/>
                      <a:pt x="105668" y="226823"/>
                      <a:pt x="105668" y="156378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07" name="Freeform 200">
                <a:extLst>
                  <a:ext uri="{FF2B5EF4-FFF2-40B4-BE49-F238E27FC236}">
                    <a16:creationId xmlns:a16="http://schemas.microsoft.com/office/drawing/2014/main" id="{CAAE6B1C-6ADA-B783-1C8F-D83EB31630EF}"/>
                  </a:ext>
                </a:extLst>
              </p:cNvPr>
              <p:cNvSpPr/>
              <p:nvPr/>
            </p:nvSpPr>
            <p:spPr>
              <a:xfrm>
                <a:off x="7020144" y="5251063"/>
                <a:ext cx="159893" cy="159930"/>
              </a:xfrm>
              <a:custGeom>
                <a:avLst/>
                <a:gdLst>
                  <a:gd name="connsiteX0" fmla="*/ 79947 w 159893"/>
                  <a:gd name="connsiteY0" fmla="*/ 159931 h 159930"/>
                  <a:gd name="connsiteX1" fmla="*/ 0 w 159893"/>
                  <a:gd name="connsiteY1" fmla="*/ 79965 h 159930"/>
                  <a:gd name="connsiteX2" fmla="*/ 79947 w 159893"/>
                  <a:gd name="connsiteY2" fmla="*/ 0 h 159930"/>
                  <a:gd name="connsiteX3" fmla="*/ 159894 w 159893"/>
                  <a:gd name="connsiteY3" fmla="*/ 79965 h 159930"/>
                  <a:gd name="connsiteX4" fmla="*/ 79947 w 159893"/>
                  <a:gd name="connsiteY4" fmla="*/ 159931 h 159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893" h="159930">
                    <a:moveTo>
                      <a:pt x="79947" y="159931"/>
                    </a:moveTo>
                    <a:cubicBezTo>
                      <a:pt x="36167" y="159931"/>
                      <a:pt x="0" y="123756"/>
                      <a:pt x="0" y="79965"/>
                    </a:cubicBezTo>
                    <a:cubicBezTo>
                      <a:pt x="0" y="36175"/>
                      <a:pt x="36167" y="0"/>
                      <a:pt x="79947" y="0"/>
                    </a:cubicBezTo>
                    <a:cubicBezTo>
                      <a:pt x="123727" y="0"/>
                      <a:pt x="159894" y="36175"/>
                      <a:pt x="159894" y="79965"/>
                    </a:cubicBezTo>
                    <a:cubicBezTo>
                      <a:pt x="159894" y="124708"/>
                      <a:pt x="124679" y="159931"/>
                      <a:pt x="79947" y="159931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456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CCC11A23-876D-0BE9-179D-B3DC1CF825D5}"/>
              </a:ext>
            </a:extLst>
          </p:cNvPr>
          <p:cNvSpPr/>
          <p:nvPr/>
        </p:nvSpPr>
        <p:spPr>
          <a:xfrm>
            <a:off x="11176484" y="4214792"/>
            <a:ext cx="720000" cy="720000"/>
          </a:xfrm>
          <a:prstGeom prst="ellipse">
            <a:avLst/>
          </a:pr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98DC9350-E239-CE8E-82E1-F9852B88E8E6}"/>
              </a:ext>
            </a:extLst>
          </p:cNvPr>
          <p:cNvGrpSpPr/>
          <p:nvPr/>
        </p:nvGrpSpPr>
        <p:grpSpPr>
          <a:xfrm>
            <a:off x="11292506" y="4317501"/>
            <a:ext cx="492290" cy="262928"/>
            <a:chOff x="9545478" y="3786111"/>
            <a:chExt cx="492290" cy="262928"/>
          </a:xfrm>
          <a:solidFill>
            <a:srgbClr val="7030A0"/>
          </a:solidFill>
        </p:grpSpPr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06EA2BB8-4A38-BECE-C793-2841F15E3889}"/>
                </a:ext>
              </a:extLst>
            </p:cNvPr>
            <p:cNvSpPr/>
            <p:nvPr/>
          </p:nvSpPr>
          <p:spPr>
            <a:xfrm>
              <a:off x="9545478" y="4015474"/>
              <a:ext cx="100695" cy="33565"/>
            </a:xfrm>
            <a:custGeom>
              <a:avLst/>
              <a:gdLst>
                <a:gd name="connsiteX0" fmla="*/ 0 w 100695"/>
                <a:gd name="connsiteY0" fmla="*/ 0 h 33565"/>
                <a:gd name="connsiteX1" fmla="*/ 100696 w 100695"/>
                <a:gd name="connsiteY1" fmla="*/ 0 h 33565"/>
                <a:gd name="connsiteX2" fmla="*/ 100696 w 100695"/>
                <a:gd name="connsiteY2" fmla="*/ 33565 h 33565"/>
                <a:gd name="connsiteX3" fmla="*/ 0 w 100695"/>
                <a:gd name="connsiteY3" fmla="*/ 33565 h 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95" h="33565">
                  <a:moveTo>
                    <a:pt x="0" y="0"/>
                  </a:moveTo>
                  <a:lnTo>
                    <a:pt x="100696" y="0"/>
                  </a:lnTo>
                  <a:lnTo>
                    <a:pt x="100696" y="33565"/>
                  </a:lnTo>
                  <a:lnTo>
                    <a:pt x="0" y="33565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7F62ED2A-CCBB-12DD-BF42-D22184A72267}"/>
                </a:ext>
              </a:extLst>
            </p:cNvPr>
            <p:cNvSpPr/>
            <p:nvPr/>
          </p:nvSpPr>
          <p:spPr>
            <a:xfrm>
              <a:off x="9937073" y="4015474"/>
              <a:ext cx="100695" cy="33565"/>
            </a:xfrm>
            <a:custGeom>
              <a:avLst/>
              <a:gdLst>
                <a:gd name="connsiteX0" fmla="*/ 0 w 100695"/>
                <a:gd name="connsiteY0" fmla="*/ 0 h 33565"/>
                <a:gd name="connsiteX1" fmla="*/ 100696 w 100695"/>
                <a:gd name="connsiteY1" fmla="*/ 0 h 33565"/>
                <a:gd name="connsiteX2" fmla="*/ 100696 w 100695"/>
                <a:gd name="connsiteY2" fmla="*/ 33565 h 33565"/>
                <a:gd name="connsiteX3" fmla="*/ 0 w 100695"/>
                <a:gd name="connsiteY3" fmla="*/ 33565 h 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95" h="33565">
                  <a:moveTo>
                    <a:pt x="0" y="0"/>
                  </a:moveTo>
                  <a:lnTo>
                    <a:pt x="100696" y="0"/>
                  </a:lnTo>
                  <a:lnTo>
                    <a:pt x="100696" y="33565"/>
                  </a:lnTo>
                  <a:lnTo>
                    <a:pt x="0" y="33565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5A19A1E4-073D-CAC4-7C84-B193659F3973}"/>
                </a:ext>
              </a:extLst>
            </p:cNvPr>
            <p:cNvSpPr/>
            <p:nvPr/>
          </p:nvSpPr>
          <p:spPr>
            <a:xfrm>
              <a:off x="9774841" y="3786111"/>
              <a:ext cx="33565" cy="100695"/>
            </a:xfrm>
            <a:custGeom>
              <a:avLst/>
              <a:gdLst>
                <a:gd name="connsiteX0" fmla="*/ 0 w 33565"/>
                <a:gd name="connsiteY0" fmla="*/ 0 h 100695"/>
                <a:gd name="connsiteX1" fmla="*/ 33565 w 33565"/>
                <a:gd name="connsiteY1" fmla="*/ 0 h 100695"/>
                <a:gd name="connsiteX2" fmla="*/ 33565 w 33565"/>
                <a:gd name="connsiteY2" fmla="*/ 100696 h 100695"/>
                <a:gd name="connsiteX3" fmla="*/ 0 w 33565"/>
                <a:gd name="connsiteY3" fmla="*/ 100696 h 10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65" h="100695">
                  <a:moveTo>
                    <a:pt x="0" y="0"/>
                  </a:moveTo>
                  <a:lnTo>
                    <a:pt x="33565" y="0"/>
                  </a:lnTo>
                  <a:lnTo>
                    <a:pt x="33565" y="100696"/>
                  </a:lnTo>
                  <a:lnTo>
                    <a:pt x="0" y="100696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BAE912CC-835B-CE4B-EE33-C365ADE4F7CE}"/>
                </a:ext>
              </a:extLst>
            </p:cNvPr>
            <p:cNvSpPr/>
            <p:nvPr/>
          </p:nvSpPr>
          <p:spPr>
            <a:xfrm rot="8100000">
              <a:off x="9879998" y="3877304"/>
              <a:ext cx="100694" cy="33564"/>
            </a:xfrm>
            <a:custGeom>
              <a:avLst/>
              <a:gdLst>
                <a:gd name="connsiteX0" fmla="*/ 0 w 100694"/>
                <a:gd name="connsiteY0" fmla="*/ 0 h 33564"/>
                <a:gd name="connsiteX1" fmla="*/ 100695 w 100694"/>
                <a:gd name="connsiteY1" fmla="*/ 0 h 33564"/>
                <a:gd name="connsiteX2" fmla="*/ 100695 w 100694"/>
                <a:gd name="connsiteY2" fmla="*/ 33565 h 33564"/>
                <a:gd name="connsiteX3" fmla="*/ 0 w 100694"/>
                <a:gd name="connsiteY3" fmla="*/ 33565 h 3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94" h="33564">
                  <a:moveTo>
                    <a:pt x="0" y="0"/>
                  </a:moveTo>
                  <a:lnTo>
                    <a:pt x="100695" y="0"/>
                  </a:lnTo>
                  <a:lnTo>
                    <a:pt x="100695" y="33565"/>
                  </a:lnTo>
                  <a:lnTo>
                    <a:pt x="0" y="33565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EAA6CB4-E5A2-D937-2885-F2EC31BDB6A5}"/>
                </a:ext>
              </a:extLst>
            </p:cNvPr>
            <p:cNvSpPr/>
            <p:nvPr/>
          </p:nvSpPr>
          <p:spPr>
            <a:xfrm rot="8100000">
              <a:off x="9636663" y="3843189"/>
              <a:ext cx="33564" cy="100694"/>
            </a:xfrm>
            <a:custGeom>
              <a:avLst/>
              <a:gdLst>
                <a:gd name="connsiteX0" fmla="*/ 0 w 33564"/>
                <a:gd name="connsiteY0" fmla="*/ 0 h 100694"/>
                <a:gd name="connsiteX1" fmla="*/ 33565 w 33564"/>
                <a:gd name="connsiteY1" fmla="*/ 0 h 100694"/>
                <a:gd name="connsiteX2" fmla="*/ 33565 w 33564"/>
                <a:gd name="connsiteY2" fmla="*/ 100695 h 100694"/>
                <a:gd name="connsiteX3" fmla="*/ 0 w 33564"/>
                <a:gd name="connsiteY3" fmla="*/ 100695 h 100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64" h="100694">
                  <a:moveTo>
                    <a:pt x="0" y="0"/>
                  </a:moveTo>
                  <a:lnTo>
                    <a:pt x="33565" y="0"/>
                  </a:lnTo>
                  <a:lnTo>
                    <a:pt x="33565" y="100695"/>
                  </a:lnTo>
                  <a:lnTo>
                    <a:pt x="0" y="100695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712EBBA-4C47-FF87-7743-845D66539507}"/>
              </a:ext>
            </a:extLst>
          </p:cNvPr>
          <p:cNvSpPr txBox="1">
            <a:spLocks/>
          </p:cNvSpPr>
          <p:nvPr/>
        </p:nvSpPr>
        <p:spPr>
          <a:xfrm>
            <a:off x="211015" y="6385559"/>
            <a:ext cx="366501" cy="291492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BEAA09E-D67E-864E-8466-C38E88600C4F}" type="slidenum">
              <a:rPr lang="en-US" sz="1000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6</a:t>
            </a:fld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59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54C8A15-C309-93B6-03D1-4FECAA915EBC}"/>
              </a:ext>
            </a:extLst>
          </p:cNvPr>
          <p:cNvSpPr/>
          <p:nvPr/>
        </p:nvSpPr>
        <p:spPr>
          <a:xfrm>
            <a:off x="1" y="0"/>
            <a:ext cx="6107438" cy="68691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E7F86-E923-DB1D-09C3-41D830CB0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A816D4B1-7748-1922-C956-46BF5A0E532D}"/>
              </a:ext>
            </a:extLst>
          </p:cNvPr>
          <p:cNvSpPr txBox="1">
            <a:spLocks/>
          </p:cNvSpPr>
          <p:nvPr/>
        </p:nvSpPr>
        <p:spPr>
          <a:xfrm>
            <a:off x="8104277" y="5048805"/>
            <a:ext cx="2600221" cy="391628"/>
          </a:xfrm>
          <a:prstGeom prst="rect">
            <a:avLst/>
          </a:prstGeom>
        </p:spPr>
        <p:txBody>
          <a:bodyPr lIns="0" tIns="72000" rIns="72000" bIns="72000" anchor="t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50021"/>
              </a:buClr>
              <a:buFont typeface="Symbol" pitchFamily="18" charset="2"/>
              <a:buChar char="¨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30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50021"/>
              </a:buClr>
              <a:buSzTx/>
              <a:buFont typeface="Symbol" pitchFamily="18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urposestudies.co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203661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1DB642-F1BF-902C-33E3-CA7E12C33E3F}"/>
              </a:ext>
            </a:extLst>
          </p:cNvPr>
          <p:cNvSpPr/>
          <p:nvPr/>
        </p:nvSpPr>
        <p:spPr>
          <a:xfrm rot="10800000">
            <a:off x="6107436" y="1972563"/>
            <a:ext cx="6084563" cy="2810073"/>
          </a:xfrm>
          <a:prstGeom prst="rect">
            <a:avLst/>
          </a:prstGeom>
          <a:gradFill flip="none" rotWithShape="1">
            <a:gsLst>
              <a:gs pos="5000">
                <a:srgbClr val="F2F2F2">
                  <a:alpha val="1000"/>
                </a:srgbClr>
              </a:gs>
              <a:gs pos="99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C7EE46E-980C-7586-BCF3-08379833CAD0}"/>
              </a:ext>
            </a:extLst>
          </p:cNvPr>
          <p:cNvCxnSpPr>
            <a:cxnSpLocks/>
          </p:cNvCxnSpPr>
          <p:nvPr/>
        </p:nvCxnSpPr>
        <p:spPr>
          <a:xfrm flipV="1">
            <a:off x="6096000" y="-12700"/>
            <a:ext cx="0" cy="6869112"/>
          </a:xfrm>
          <a:prstGeom prst="line">
            <a:avLst/>
          </a:prstGeom>
          <a:ln w="317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aphic 43">
            <a:extLst>
              <a:ext uri="{FF2B5EF4-FFF2-40B4-BE49-F238E27FC236}">
                <a16:creationId xmlns:a16="http://schemas.microsoft.com/office/drawing/2014/main" id="{F2CA1D06-4497-F4EF-A21D-E0F18D4ABD69}"/>
              </a:ext>
            </a:extLst>
          </p:cNvPr>
          <p:cNvGrpSpPr/>
          <p:nvPr/>
        </p:nvGrpSpPr>
        <p:grpSpPr>
          <a:xfrm>
            <a:off x="6935665" y="3915112"/>
            <a:ext cx="4407683" cy="1068407"/>
            <a:chOff x="9374649" y="-2546179"/>
            <a:chExt cx="8750212" cy="2121020"/>
          </a:xfrm>
          <a:solidFill>
            <a:srgbClr val="466086"/>
          </a:solidFill>
        </p:grpSpPr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6D6F8C84-90FA-853F-D79F-EBD9E710BFAC}"/>
                </a:ext>
              </a:extLst>
            </p:cNvPr>
            <p:cNvSpPr/>
            <p:nvPr/>
          </p:nvSpPr>
          <p:spPr>
            <a:xfrm>
              <a:off x="9374649" y="-2546179"/>
              <a:ext cx="1288106" cy="1144132"/>
            </a:xfrm>
            <a:custGeom>
              <a:avLst/>
              <a:gdLst>
                <a:gd name="connsiteX0" fmla="*/ 944704 w 1288106"/>
                <a:gd name="connsiteY0" fmla="*/ 0 h 1144132"/>
                <a:gd name="connsiteX1" fmla="*/ 938299 w 1288106"/>
                <a:gd name="connsiteY1" fmla="*/ 144017 h 1144132"/>
                <a:gd name="connsiteX2" fmla="*/ 1005141 w 1288106"/>
                <a:gd name="connsiteY2" fmla="*/ 436516 h 1144132"/>
                <a:gd name="connsiteX3" fmla="*/ 1068920 w 1288106"/>
                <a:gd name="connsiteY3" fmla="*/ 555692 h 1144132"/>
                <a:gd name="connsiteX4" fmla="*/ 1089251 w 1288106"/>
                <a:gd name="connsiteY4" fmla="*/ 562112 h 1144132"/>
                <a:gd name="connsiteX5" fmla="*/ 1277802 w 1288106"/>
                <a:gd name="connsiteY5" fmla="*/ 541179 h 1144132"/>
                <a:gd name="connsiteX6" fmla="*/ 1285321 w 1288106"/>
                <a:gd name="connsiteY6" fmla="*/ 543133 h 1144132"/>
                <a:gd name="connsiteX7" fmla="*/ 1288107 w 1288106"/>
                <a:gd name="connsiteY7" fmla="*/ 545086 h 1144132"/>
                <a:gd name="connsiteX8" fmla="*/ 1278359 w 1288106"/>
                <a:gd name="connsiteY8" fmla="*/ 551785 h 1144132"/>
                <a:gd name="connsiteX9" fmla="*/ 1053602 w 1288106"/>
                <a:gd name="connsiteY9" fmla="*/ 696081 h 1144132"/>
                <a:gd name="connsiteX10" fmla="*/ 870621 w 1288106"/>
                <a:gd name="connsiteY10" fmla="*/ 935271 h 1144132"/>
                <a:gd name="connsiteX11" fmla="*/ 875912 w 1288106"/>
                <a:gd name="connsiteY11" fmla="*/ 952576 h 1144132"/>
                <a:gd name="connsiteX12" fmla="*/ 985367 w 1288106"/>
                <a:gd name="connsiteY12" fmla="*/ 1094639 h 1144132"/>
                <a:gd name="connsiteX13" fmla="*/ 991494 w 1288106"/>
                <a:gd name="connsiteY13" fmla="*/ 1119479 h 1144132"/>
                <a:gd name="connsiteX14" fmla="*/ 965314 w 1288106"/>
                <a:gd name="connsiteY14" fmla="*/ 1100779 h 1144132"/>
                <a:gd name="connsiteX15" fmla="*/ 587655 w 1288106"/>
                <a:gd name="connsiteY15" fmla="*/ 955367 h 1144132"/>
                <a:gd name="connsiteX16" fmla="*/ 446172 w 1288106"/>
                <a:gd name="connsiteY16" fmla="*/ 950901 h 1144132"/>
                <a:gd name="connsiteX17" fmla="*/ 432804 w 1288106"/>
                <a:gd name="connsiteY17" fmla="*/ 964298 h 1144132"/>
                <a:gd name="connsiteX18" fmla="*/ 361227 w 1288106"/>
                <a:gd name="connsiteY18" fmla="*/ 1133434 h 1144132"/>
                <a:gd name="connsiteX19" fmla="*/ 348415 w 1288106"/>
                <a:gd name="connsiteY19" fmla="*/ 1143760 h 1144132"/>
                <a:gd name="connsiteX20" fmla="*/ 348137 w 1288106"/>
                <a:gd name="connsiteY20" fmla="*/ 1128689 h 1144132"/>
                <a:gd name="connsiteX21" fmla="*/ 352315 w 1288106"/>
                <a:gd name="connsiteY21" fmla="*/ 1016769 h 1144132"/>
                <a:gd name="connsiteX22" fmla="*/ 284915 w 1288106"/>
                <a:gd name="connsiteY22" fmla="*/ 711152 h 1144132"/>
                <a:gd name="connsiteX23" fmla="*/ 220023 w 1288106"/>
                <a:gd name="connsiteY23" fmla="*/ 590022 h 1144132"/>
                <a:gd name="connsiteX24" fmla="*/ 202198 w 1288106"/>
                <a:gd name="connsiteY24" fmla="*/ 584161 h 1144132"/>
                <a:gd name="connsiteX25" fmla="*/ 50967 w 1288106"/>
                <a:gd name="connsiteY25" fmla="*/ 611513 h 1144132"/>
                <a:gd name="connsiteX26" fmla="*/ 0 w 1288106"/>
                <a:gd name="connsiteY26" fmla="*/ 602302 h 1144132"/>
                <a:gd name="connsiteX27" fmla="*/ 0 w 1288106"/>
                <a:gd name="connsiteY27" fmla="*/ 600070 h 1144132"/>
                <a:gd name="connsiteX28" fmla="*/ 255672 w 1288106"/>
                <a:gd name="connsiteY28" fmla="*/ 433446 h 1144132"/>
                <a:gd name="connsiteX29" fmla="*/ 417764 w 1288106"/>
                <a:gd name="connsiteY29" fmla="*/ 215467 h 1144132"/>
                <a:gd name="connsiteX30" fmla="*/ 413308 w 1288106"/>
                <a:gd name="connsiteY30" fmla="*/ 193697 h 1144132"/>
                <a:gd name="connsiteX31" fmla="*/ 302740 w 1288106"/>
                <a:gd name="connsiteY31" fmla="*/ 45773 h 1144132"/>
                <a:gd name="connsiteX32" fmla="*/ 299398 w 1288106"/>
                <a:gd name="connsiteY32" fmla="*/ 29027 h 1144132"/>
                <a:gd name="connsiteX33" fmla="*/ 311374 w 1288106"/>
                <a:gd name="connsiteY33" fmla="*/ 36004 h 1144132"/>
                <a:gd name="connsiteX34" fmla="*/ 840542 w 1288106"/>
                <a:gd name="connsiteY34" fmla="*/ 197604 h 1144132"/>
                <a:gd name="connsiteX35" fmla="*/ 858088 w 1288106"/>
                <a:gd name="connsiteY35" fmla="*/ 182812 h 1144132"/>
                <a:gd name="connsiteX36" fmla="*/ 941084 w 1288106"/>
                <a:gd name="connsiteY36" fmla="*/ 0 h 1144132"/>
                <a:gd name="connsiteX37" fmla="*/ 945540 w 1288106"/>
                <a:gd name="connsiteY37" fmla="*/ 0 h 1144132"/>
                <a:gd name="connsiteX38" fmla="*/ 238961 w 1288106"/>
                <a:gd name="connsiteY38" fmla="*/ 567415 h 1144132"/>
                <a:gd name="connsiteX39" fmla="*/ 245367 w 1288106"/>
                <a:gd name="connsiteY39" fmla="*/ 571322 h 1144132"/>
                <a:gd name="connsiteX40" fmla="*/ 348415 w 1288106"/>
                <a:gd name="connsiteY40" fmla="*/ 658960 h 1144132"/>
                <a:gd name="connsiteX41" fmla="*/ 427234 w 1288106"/>
                <a:gd name="connsiteY41" fmla="*/ 828654 h 1144132"/>
                <a:gd name="connsiteX42" fmla="*/ 430854 w 1288106"/>
                <a:gd name="connsiteY42" fmla="*/ 838423 h 1144132"/>
                <a:gd name="connsiteX43" fmla="*/ 440045 w 1288106"/>
                <a:gd name="connsiteY43" fmla="*/ 831724 h 1144132"/>
                <a:gd name="connsiteX44" fmla="*/ 478479 w 1288106"/>
                <a:gd name="connsiteY44" fmla="*/ 800186 h 1144132"/>
                <a:gd name="connsiteX45" fmla="*/ 679842 w 1288106"/>
                <a:gd name="connsiteY45" fmla="*/ 813304 h 1144132"/>
                <a:gd name="connsiteX46" fmla="*/ 686526 w 1288106"/>
                <a:gd name="connsiteY46" fmla="*/ 822514 h 1144132"/>
                <a:gd name="connsiteX47" fmla="*/ 675664 w 1288106"/>
                <a:gd name="connsiteY47" fmla="*/ 826142 h 1144132"/>
                <a:gd name="connsiteX48" fmla="*/ 604087 w 1288106"/>
                <a:gd name="connsiteY48" fmla="*/ 833120 h 1144132"/>
                <a:gd name="connsiteX49" fmla="*/ 447843 w 1288106"/>
                <a:gd name="connsiteY49" fmla="*/ 883637 h 1144132"/>
                <a:gd name="connsiteX50" fmla="*/ 434753 w 1288106"/>
                <a:gd name="connsiteY50" fmla="*/ 907640 h 1144132"/>
                <a:gd name="connsiteX51" fmla="*/ 437538 w 1288106"/>
                <a:gd name="connsiteY51" fmla="*/ 919083 h 1144132"/>
                <a:gd name="connsiteX52" fmla="*/ 448122 w 1288106"/>
                <a:gd name="connsiteY52" fmla="*/ 915455 h 1144132"/>
                <a:gd name="connsiteX53" fmla="*/ 634166 w 1288106"/>
                <a:gd name="connsiteY53" fmla="*/ 869124 h 1144132"/>
                <a:gd name="connsiteX54" fmla="*/ 758381 w 1288106"/>
                <a:gd name="connsiteY54" fmla="*/ 890336 h 1144132"/>
                <a:gd name="connsiteX55" fmla="*/ 766737 w 1288106"/>
                <a:gd name="connsiteY55" fmla="*/ 891173 h 1144132"/>
                <a:gd name="connsiteX56" fmla="*/ 766737 w 1288106"/>
                <a:gd name="connsiteY56" fmla="*/ 881963 h 1144132"/>
                <a:gd name="connsiteX57" fmla="*/ 760888 w 1288106"/>
                <a:gd name="connsiteY57" fmla="*/ 795162 h 1144132"/>
                <a:gd name="connsiteX58" fmla="*/ 874241 w 1288106"/>
                <a:gd name="connsiteY58" fmla="*/ 662030 h 1144132"/>
                <a:gd name="connsiteX59" fmla="*/ 882318 w 1288106"/>
                <a:gd name="connsiteY59" fmla="*/ 661751 h 1144132"/>
                <a:gd name="connsiteX60" fmla="*/ 880926 w 1288106"/>
                <a:gd name="connsiteY60" fmla="*/ 669008 h 1144132"/>
                <a:gd name="connsiteX61" fmla="*/ 860594 w 1288106"/>
                <a:gd name="connsiteY61" fmla="*/ 713385 h 1144132"/>
                <a:gd name="connsiteX62" fmla="*/ 815754 w 1288106"/>
                <a:gd name="connsiteY62" fmla="*/ 896197 h 1144132"/>
                <a:gd name="connsiteX63" fmla="*/ 833301 w 1288106"/>
                <a:gd name="connsiteY63" fmla="*/ 924107 h 1144132"/>
                <a:gd name="connsiteX64" fmla="*/ 843048 w 1288106"/>
                <a:gd name="connsiteY64" fmla="*/ 918525 h 1144132"/>
                <a:gd name="connsiteX65" fmla="*/ 846112 w 1288106"/>
                <a:gd name="connsiteY65" fmla="*/ 869961 h 1144132"/>
                <a:gd name="connsiteX66" fmla="*/ 973948 w 1288106"/>
                <a:gd name="connsiteY66" fmla="*/ 636074 h 1144132"/>
                <a:gd name="connsiteX67" fmla="*/ 981468 w 1288106"/>
                <a:gd name="connsiteY67" fmla="*/ 626305 h 1144132"/>
                <a:gd name="connsiteX68" fmla="*/ 970606 w 1288106"/>
                <a:gd name="connsiteY68" fmla="*/ 622119 h 1144132"/>
                <a:gd name="connsiteX69" fmla="*/ 858923 w 1288106"/>
                <a:gd name="connsiteY69" fmla="*/ 543970 h 1144132"/>
                <a:gd name="connsiteX70" fmla="*/ 836086 w 1288106"/>
                <a:gd name="connsiteY70" fmla="*/ 420607 h 1144132"/>
                <a:gd name="connsiteX71" fmla="*/ 839706 w 1288106"/>
                <a:gd name="connsiteY71" fmla="*/ 411955 h 1144132"/>
                <a:gd name="connsiteX72" fmla="*/ 847226 w 1288106"/>
                <a:gd name="connsiteY72" fmla="*/ 418932 h 1144132"/>
                <a:gd name="connsiteX73" fmla="*/ 877305 w 1288106"/>
                <a:gd name="connsiteY73" fmla="*/ 461635 h 1144132"/>
                <a:gd name="connsiteX74" fmla="*/ 1004584 w 1288106"/>
                <a:gd name="connsiteY74" fmla="*/ 584998 h 1144132"/>
                <a:gd name="connsiteX75" fmla="*/ 1042461 w 1288106"/>
                <a:gd name="connsiteY75" fmla="*/ 586114 h 1144132"/>
                <a:gd name="connsiteX76" fmla="*/ 1042461 w 1288106"/>
                <a:gd name="connsiteY76" fmla="*/ 574113 h 1144132"/>
                <a:gd name="connsiteX77" fmla="*/ 975619 w 1288106"/>
                <a:gd name="connsiteY77" fmla="*/ 524991 h 1144132"/>
                <a:gd name="connsiteX78" fmla="*/ 862823 w 1288106"/>
                <a:gd name="connsiteY78" fmla="*/ 317339 h 1144132"/>
                <a:gd name="connsiteX79" fmla="*/ 858923 w 1288106"/>
                <a:gd name="connsiteY79" fmla="*/ 307850 h 1144132"/>
                <a:gd name="connsiteX80" fmla="*/ 850568 w 1288106"/>
                <a:gd name="connsiteY80" fmla="*/ 314269 h 1144132"/>
                <a:gd name="connsiteX81" fmla="*/ 787625 w 1288106"/>
                <a:gd name="connsiteY81" fmla="*/ 358925 h 1144132"/>
                <a:gd name="connsiteX82" fmla="*/ 609379 w 1288106"/>
                <a:gd name="connsiteY82" fmla="*/ 332132 h 1144132"/>
                <a:gd name="connsiteX83" fmla="*/ 603809 w 1288106"/>
                <a:gd name="connsiteY83" fmla="*/ 324596 h 1144132"/>
                <a:gd name="connsiteX84" fmla="*/ 612442 w 1288106"/>
                <a:gd name="connsiteY84" fmla="*/ 321526 h 1144132"/>
                <a:gd name="connsiteX85" fmla="*/ 688476 w 1288106"/>
                <a:gd name="connsiteY85" fmla="*/ 313711 h 1144132"/>
                <a:gd name="connsiteX86" fmla="*/ 837478 w 1288106"/>
                <a:gd name="connsiteY86" fmla="*/ 266263 h 1144132"/>
                <a:gd name="connsiteX87" fmla="*/ 853910 w 1288106"/>
                <a:gd name="connsiteY87" fmla="*/ 236120 h 1144132"/>
                <a:gd name="connsiteX88" fmla="*/ 843048 w 1288106"/>
                <a:gd name="connsiteY88" fmla="*/ 230259 h 1144132"/>
                <a:gd name="connsiteX89" fmla="*/ 585984 w 1288106"/>
                <a:gd name="connsiteY89" fmla="*/ 270729 h 1144132"/>
                <a:gd name="connsiteX90" fmla="*/ 519699 w 1288106"/>
                <a:gd name="connsiteY90" fmla="*/ 253425 h 1144132"/>
                <a:gd name="connsiteX91" fmla="*/ 530004 w 1288106"/>
                <a:gd name="connsiteY91" fmla="*/ 347761 h 1144132"/>
                <a:gd name="connsiteX92" fmla="*/ 416929 w 1288106"/>
                <a:gd name="connsiteY92" fmla="*/ 485079 h 1144132"/>
                <a:gd name="connsiteX93" fmla="*/ 407738 w 1288106"/>
                <a:gd name="connsiteY93" fmla="*/ 485079 h 1144132"/>
                <a:gd name="connsiteX94" fmla="*/ 409409 w 1288106"/>
                <a:gd name="connsiteY94" fmla="*/ 476986 h 1144132"/>
                <a:gd name="connsiteX95" fmla="*/ 435310 w 1288106"/>
                <a:gd name="connsiteY95" fmla="*/ 420607 h 1144132"/>
                <a:gd name="connsiteX96" fmla="*/ 474302 w 1288106"/>
                <a:gd name="connsiteY96" fmla="*/ 244493 h 1144132"/>
                <a:gd name="connsiteX97" fmla="*/ 465389 w 1288106"/>
                <a:gd name="connsiteY97" fmla="*/ 228585 h 1144132"/>
                <a:gd name="connsiteX98" fmla="*/ 448957 w 1288106"/>
                <a:gd name="connsiteY98" fmla="*/ 221049 h 1144132"/>
                <a:gd name="connsiteX99" fmla="*/ 447843 w 1288106"/>
                <a:gd name="connsiteY99" fmla="*/ 238074 h 1144132"/>
                <a:gd name="connsiteX100" fmla="*/ 412473 w 1288106"/>
                <a:gd name="connsiteY100" fmla="*/ 382649 h 1144132"/>
                <a:gd name="connsiteX101" fmla="*/ 315551 w 1288106"/>
                <a:gd name="connsiteY101" fmla="*/ 512431 h 1144132"/>
                <a:gd name="connsiteX102" fmla="*/ 308867 w 1288106"/>
                <a:gd name="connsiteY102" fmla="*/ 521642 h 1144132"/>
                <a:gd name="connsiteX103" fmla="*/ 318615 w 1288106"/>
                <a:gd name="connsiteY103" fmla="*/ 525549 h 1144132"/>
                <a:gd name="connsiteX104" fmla="*/ 368190 w 1288106"/>
                <a:gd name="connsiteY104" fmla="*/ 544807 h 1144132"/>
                <a:gd name="connsiteX105" fmla="*/ 453971 w 1288106"/>
                <a:gd name="connsiteY105" fmla="*/ 726503 h 1144132"/>
                <a:gd name="connsiteX106" fmla="*/ 450071 w 1288106"/>
                <a:gd name="connsiteY106" fmla="*/ 735155 h 1144132"/>
                <a:gd name="connsiteX107" fmla="*/ 443387 w 1288106"/>
                <a:gd name="connsiteY107" fmla="*/ 729015 h 1144132"/>
                <a:gd name="connsiteX108" fmla="*/ 404674 w 1288106"/>
                <a:gd name="connsiteY108" fmla="*/ 674869 h 1144132"/>
                <a:gd name="connsiteX109" fmla="*/ 274332 w 1288106"/>
                <a:gd name="connsiteY109" fmla="*/ 556530 h 1144132"/>
                <a:gd name="connsiteX110" fmla="*/ 262077 w 1288106"/>
                <a:gd name="connsiteY110" fmla="*/ 553739 h 1144132"/>
                <a:gd name="connsiteX111" fmla="*/ 239240 w 1288106"/>
                <a:gd name="connsiteY111" fmla="*/ 568252 h 114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288106" h="1144132">
                  <a:moveTo>
                    <a:pt x="944704" y="0"/>
                  </a:moveTo>
                  <a:cubicBezTo>
                    <a:pt x="937185" y="47726"/>
                    <a:pt x="936628" y="95732"/>
                    <a:pt x="938299" y="144017"/>
                  </a:cubicBezTo>
                  <a:cubicBezTo>
                    <a:pt x="941919" y="245610"/>
                    <a:pt x="964479" y="343296"/>
                    <a:pt x="1005141" y="436516"/>
                  </a:cubicBezTo>
                  <a:cubicBezTo>
                    <a:pt x="1023244" y="478102"/>
                    <a:pt x="1044689" y="517734"/>
                    <a:pt x="1068920" y="555692"/>
                  </a:cubicBezTo>
                  <a:cubicBezTo>
                    <a:pt x="1074490" y="564344"/>
                    <a:pt x="1078946" y="566577"/>
                    <a:pt x="1089251" y="562112"/>
                  </a:cubicBezTo>
                  <a:cubicBezTo>
                    <a:pt x="1149966" y="536992"/>
                    <a:pt x="1212631" y="526666"/>
                    <a:pt x="1277802" y="541179"/>
                  </a:cubicBezTo>
                  <a:cubicBezTo>
                    <a:pt x="1280308" y="541737"/>
                    <a:pt x="1282815" y="542295"/>
                    <a:pt x="1285321" y="543133"/>
                  </a:cubicBezTo>
                  <a:cubicBezTo>
                    <a:pt x="1286436" y="543412"/>
                    <a:pt x="1286993" y="544249"/>
                    <a:pt x="1288107" y="545086"/>
                  </a:cubicBezTo>
                  <a:cubicBezTo>
                    <a:pt x="1286436" y="549831"/>
                    <a:pt x="1281979" y="550110"/>
                    <a:pt x="1278359" y="551785"/>
                  </a:cubicBezTo>
                  <a:cubicBezTo>
                    <a:pt x="1195641" y="588068"/>
                    <a:pt x="1120722" y="635795"/>
                    <a:pt x="1053602" y="696081"/>
                  </a:cubicBezTo>
                  <a:cubicBezTo>
                    <a:pt x="977568" y="764461"/>
                    <a:pt x="917410" y="844563"/>
                    <a:pt x="870621" y="935271"/>
                  </a:cubicBezTo>
                  <a:cubicBezTo>
                    <a:pt x="866165" y="943644"/>
                    <a:pt x="869228" y="947552"/>
                    <a:pt x="875912" y="952576"/>
                  </a:cubicBezTo>
                  <a:cubicBezTo>
                    <a:pt x="925209" y="989975"/>
                    <a:pt x="963364" y="1036306"/>
                    <a:pt x="985367" y="1094639"/>
                  </a:cubicBezTo>
                  <a:cubicBezTo>
                    <a:pt x="988152" y="1101895"/>
                    <a:pt x="991772" y="1109431"/>
                    <a:pt x="991494" y="1119479"/>
                  </a:cubicBezTo>
                  <a:cubicBezTo>
                    <a:pt x="982025" y="1112780"/>
                    <a:pt x="973669" y="1106640"/>
                    <a:pt x="965314" y="1100779"/>
                  </a:cubicBezTo>
                  <a:cubicBezTo>
                    <a:pt x="851682" y="1020676"/>
                    <a:pt x="725796" y="971275"/>
                    <a:pt x="587655" y="955367"/>
                  </a:cubicBezTo>
                  <a:cubicBezTo>
                    <a:pt x="540587" y="949784"/>
                    <a:pt x="493519" y="947273"/>
                    <a:pt x="446172" y="950901"/>
                  </a:cubicBezTo>
                  <a:cubicBezTo>
                    <a:pt x="436424" y="951738"/>
                    <a:pt x="433918" y="955646"/>
                    <a:pt x="432804" y="964298"/>
                  </a:cubicBezTo>
                  <a:cubicBezTo>
                    <a:pt x="424727" y="1027375"/>
                    <a:pt x="403003" y="1084591"/>
                    <a:pt x="361227" y="1133434"/>
                  </a:cubicBezTo>
                  <a:cubicBezTo>
                    <a:pt x="357606" y="1137620"/>
                    <a:pt x="353986" y="1145993"/>
                    <a:pt x="348415" y="1143760"/>
                  </a:cubicBezTo>
                  <a:cubicBezTo>
                    <a:pt x="343124" y="1141807"/>
                    <a:pt x="347580" y="1133713"/>
                    <a:pt x="348137" y="1128689"/>
                  </a:cubicBezTo>
                  <a:cubicBezTo>
                    <a:pt x="352036" y="1091568"/>
                    <a:pt x="353429" y="1054169"/>
                    <a:pt x="352315" y="1016769"/>
                  </a:cubicBezTo>
                  <a:cubicBezTo>
                    <a:pt x="349529" y="910431"/>
                    <a:pt x="327527" y="808559"/>
                    <a:pt x="284915" y="711152"/>
                  </a:cubicBezTo>
                  <a:cubicBezTo>
                    <a:pt x="266534" y="669008"/>
                    <a:pt x="244531" y="628817"/>
                    <a:pt x="220023" y="590022"/>
                  </a:cubicBezTo>
                  <a:cubicBezTo>
                    <a:pt x="215288" y="582486"/>
                    <a:pt x="211110" y="580253"/>
                    <a:pt x="202198" y="584161"/>
                  </a:cubicBezTo>
                  <a:cubicBezTo>
                    <a:pt x="154016" y="605093"/>
                    <a:pt x="103606" y="614583"/>
                    <a:pt x="50967" y="611513"/>
                  </a:cubicBezTo>
                  <a:cubicBezTo>
                    <a:pt x="33700" y="610396"/>
                    <a:pt x="16432" y="608164"/>
                    <a:pt x="0" y="602302"/>
                  </a:cubicBezTo>
                  <a:lnTo>
                    <a:pt x="0" y="600070"/>
                  </a:lnTo>
                  <a:cubicBezTo>
                    <a:pt x="96086" y="560995"/>
                    <a:pt x="181031" y="505175"/>
                    <a:pt x="255672" y="433446"/>
                  </a:cubicBezTo>
                  <a:cubicBezTo>
                    <a:pt x="321957" y="370089"/>
                    <a:pt x="375709" y="296965"/>
                    <a:pt x="417764" y="215467"/>
                  </a:cubicBezTo>
                  <a:cubicBezTo>
                    <a:pt x="422777" y="205419"/>
                    <a:pt x="422220" y="200674"/>
                    <a:pt x="413308" y="193697"/>
                  </a:cubicBezTo>
                  <a:cubicBezTo>
                    <a:pt x="362898" y="154623"/>
                    <a:pt x="323350" y="107175"/>
                    <a:pt x="302740" y="45773"/>
                  </a:cubicBezTo>
                  <a:cubicBezTo>
                    <a:pt x="301069" y="40470"/>
                    <a:pt x="298284" y="35167"/>
                    <a:pt x="299398" y="29027"/>
                  </a:cubicBezTo>
                  <a:cubicBezTo>
                    <a:pt x="304968" y="29864"/>
                    <a:pt x="308032" y="33492"/>
                    <a:pt x="311374" y="36004"/>
                  </a:cubicBezTo>
                  <a:cubicBezTo>
                    <a:pt x="469010" y="151552"/>
                    <a:pt x="645585" y="204582"/>
                    <a:pt x="840542" y="197604"/>
                  </a:cubicBezTo>
                  <a:cubicBezTo>
                    <a:pt x="850847" y="197325"/>
                    <a:pt x="856417" y="194255"/>
                    <a:pt x="858088" y="182812"/>
                  </a:cubicBezTo>
                  <a:cubicBezTo>
                    <a:pt x="867279" y="113595"/>
                    <a:pt x="892902" y="51634"/>
                    <a:pt x="941084" y="0"/>
                  </a:cubicBezTo>
                  <a:lnTo>
                    <a:pt x="945540" y="0"/>
                  </a:lnTo>
                  <a:close/>
                  <a:moveTo>
                    <a:pt x="238961" y="567415"/>
                  </a:moveTo>
                  <a:cubicBezTo>
                    <a:pt x="241468" y="569089"/>
                    <a:pt x="243417" y="570206"/>
                    <a:pt x="245367" y="571322"/>
                  </a:cubicBezTo>
                  <a:cubicBezTo>
                    <a:pt x="286586" y="592534"/>
                    <a:pt x="320007" y="623235"/>
                    <a:pt x="348415" y="658960"/>
                  </a:cubicBezTo>
                  <a:cubicBezTo>
                    <a:pt x="388242" y="709198"/>
                    <a:pt x="413587" y="766135"/>
                    <a:pt x="427234" y="828654"/>
                  </a:cubicBezTo>
                  <a:cubicBezTo>
                    <a:pt x="428069" y="832003"/>
                    <a:pt x="427234" y="837306"/>
                    <a:pt x="430854" y="838423"/>
                  </a:cubicBezTo>
                  <a:cubicBezTo>
                    <a:pt x="435310" y="839818"/>
                    <a:pt x="437538" y="834515"/>
                    <a:pt x="440045" y="831724"/>
                  </a:cubicBezTo>
                  <a:cubicBezTo>
                    <a:pt x="451742" y="819723"/>
                    <a:pt x="464275" y="809117"/>
                    <a:pt x="478479" y="800186"/>
                  </a:cubicBezTo>
                  <a:cubicBezTo>
                    <a:pt x="542258" y="759437"/>
                    <a:pt x="623304" y="764740"/>
                    <a:pt x="679842" y="813304"/>
                  </a:cubicBezTo>
                  <a:cubicBezTo>
                    <a:pt x="682627" y="815815"/>
                    <a:pt x="688197" y="818048"/>
                    <a:pt x="686526" y="822514"/>
                  </a:cubicBezTo>
                  <a:cubicBezTo>
                    <a:pt x="685133" y="826421"/>
                    <a:pt x="679563" y="825584"/>
                    <a:pt x="675664" y="826142"/>
                  </a:cubicBezTo>
                  <a:cubicBezTo>
                    <a:pt x="651712" y="828375"/>
                    <a:pt x="627760" y="830329"/>
                    <a:pt x="604087" y="833120"/>
                  </a:cubicBezTo>
                  <a:cubicBezTo>
                    <a:pt x="548942" y="840097"/>
                    <a:pt x="496304" y="854890"/>
                    <a:pt x="447843" y="883637"/>
                  </a:cubicBezTo>
                  <a:cubicBezTo>
                    <a:pt x="437817" y="889498"/>
                    <a:pt x="433082" y="896197"/>
                    <a:pt x="434753" y="907640"/>
                  </a:cubicBezTo>
                  <a:cubicBezTo>
                    <a:pt x="435310" y="911548"/>
                    <a:pt x="433639" y="916571"/>
                    <a:pt x="437538" y="919083"/>
                  </a:cubicBezTo>
                  <a:cubicBezTo>
                    <a:pt x="441716" y="922153"/>
                    <a:pt x="445058" y="917409"/>
                    <a:pt x="448122" y="915455"/>
                  </a:cubicBezTo>
                  <a:cubicBezTo>
                    <a:pt x="505495" y="881684"/>
                    <a:pt x="568438" y="868287"/>
                    <a:pt x="634166" y="869124"/>
                  </a:cubicBezTo>
                  <a:cubicBezTo>
                    <a:pt x="676500" y="869682"/>
                    <a:pt x="717998" y="877218"/>
                    <a:pt x="758381" y="890336"/>
                  </a:cubicBezTo>
                  <a:cubicBezTo>
                    <a:pt x="761167" y="891173"/>
                    <a:pt x="764230" y="893406"/>
                    <a:pt x="766737" y="891173"/>
                  </a:cubicBezTo>
                  <a:cubicBezTo>
                    <a:pt x="769800" y="888382"/>
                    <a:pt x="767572" y="884754"/>
                    <a:pt x="766737" y="881963"/>
                  </a:cubicBezTo>
                  <a:cubicBezTo>
                    <a:pt x="758381" y="853494"/>
                    <a:pt x="755596" y="824468"/>
                    <a:pt x="760888" y="795162"/>
                  </a:cubicBezTo>
                  <a:cubicBezTo>
                    <a:pt x="773142" y="729294"/>
                    <a:pt x="810463" y="684079"/>
                    <a:pt x="874241" y="662030"/>
                  </a:cubicBezTo>
                  <a:cubicBezTo>
                    <a:pt x="876748" y="661193"/>
                    <a:pt x="880090" y="658681"/>
                    <a:pt x="882318" y="661751"/>
                  </a:cubicBezTo>
                  <a:cubicBezTo>
                    <a:pt x="883989" y="663984"/>
                    <a:pt x="881761" y="666775"/>
                    <a:pt x="880926" y="669008"/>
                  </a:cubicBezTo>
                  <a:cubicBezTo>
                    <a:pt x="874241" y="683800"/>
                    <a:pt x="867279" y="698593"/>
                    <a:pt x="860594" y="713385"/>
                  </a:cubicBezTo>
                  <a:cubicBezTo>
                    <a:pt x="834693" y="771438"/>
                    <a:pt x="814083" y="830887"/>
                    <a:pt x="815754" y="896197"/>
                  </a:cubicBezTo>
                  <a:cubicBezTo>
                    <a:pt x="816033" y="910710"/>
                    <a:pt x="820489" y="918525"/>
                    <a:pt x="833301" y="924107"/>
                  </a:cubicBezTo>
                  <a:cubicBezTo>
                    <a:pt x="840820" y="927456"/>
                    <a:pt x="843327" y="926619"/>
                    <a:pt x="843048" y="918525"/>
                  </a:cubicBezTo>
                  <a:cubicBezTo>
                    <a:pt x="842213" y="902058"/>
                    <a:pt x="843884" y="885870"/>
                    <a:pt x="846112" y="869961"/>
                  </a:cubicBezTo>
                  <a:cubicBezTo>
                    <a:pt x="860316" y="776462"/>
                    <a:pt x="905156" y="699709"/>
                    <a:pt x="973948" y="636074"/>
                  </a:cubicBezTo>
                  <a:cubicBezTo>
                    <a:pt x="977011" y="633283"/>
                    <a:pt x="982860" y="630771"/>
                    <a:pt x="981468" y="626305"/>
                  </a:cubicBezTo>
                  <a:cubicBezTo>
                    <a:pt x="980354" y="622677"/>
                    <a:pt x="974505" y="623235"/>
                    <a:pt x="970606" y="622119"/>
                  </a:cubicBezTo>
                  <a:cubicBezTo>
                    <a:pt x="924095" y="609559"/>
                    <a:pt x="885103" y="585556"/>
                    <a:pt x="858923" y="543970"/>
                  </a:cubicBezTo>
                  <a:cubicBezTo>
                    <a:pt x="834972" y="506012"/>
                    <a:pt x="826338" y="464984"/>
                    <a:pt x="836086" y="420607"/>
                  </a:cubicBezTo>
                  <a:cubicBezTo>
                    <a:pt x="836643" y="417537"/>
                    <a:pt x="836643" y="412792"/>
                    <a:pt x="839706" y="411955"/>
                  </a:cubicBezTo>
                  <a:cubicBezTo>
                    <a:pt x="844162" y="410838"/>
                    <a:pt x="845276" y="416141"/>
                    <a:pt x="847226" y="418932"/>
                  </a:cubicBezTo>
                  <a:cubicBezTo>
                    <a:pt x="857252" y="433166"/>
                    <a:pt x="867279" y="447401"/>
                    <a:pt x="877305" y="461635"/>
                  </a:cubicBezTo>
                  <a:cubicBezTo>
                    <a:pt x="912119" y="510478"/>
                    <a:pt x="952503" y="553739"/>
                    <a:pt x="1004584" y="584998"/>
                  </a:cubicBezTo>
                  <a:cubicBezTo>
                    <a:pt x="1017674" y="592813"/>
                    <a:pt x="1028536" y="597558"/>
                    <a:pt x="1042461" y="586114"/>
                  </a:cubicBezTo>
                  <a:cubicBezTo>
                    <a:pt x="1049145" y="580532"/>
                    <a:pt x="1051652" y="579137"/>
                    <a:pt x="1042461" y="574113"/>
                  </a:cubicBezTo>
                  <a:cubicBezTo>
                    <a:pt x="1017952" y="560995"/>
                    <a:pt x="995672" y="544528"/>
                    <a:pt x="975619" y="524991"/>
                  </a:cubicBezTo>
                  <a:cubicBezTo>
                    <a:pt x="916853" y="467217"/>
                    <a:pt x="880647" y="397441"/>
                    <a:pt x="862823" y="317339"/>
                  </a:cubicBezTo>
                  <a:cubicBezTo>
                    <a:pt x="861987" y="313990"/>
                    <a:pt x="862823" y="308687"/>
                    <a:pt x="858923" y="307850"/>
                  </a:cubicBezTo>
                  <a:cubicBezTo>
                    <a:pt x="855024" y="307012"/>
                    <a:pt x="853075" y="311757"/>
                    <a:pt x="850568" y="314269"/>
                  </a:cubicBezTo>
                  <a:cubicBezTo>
                    <a:pt x="832744" y="333527"/>
                    <a:pt x="811577" y="348040"/>
                    <a:pt x="787625" y="358925"/>
                  </a:cubicBezTo>
                  <a:cubicBezTo>
                    <a:pt x="729138" y="385719"/>
                    <a:pt x="652826" y="374555"/>
                    <a:pt x="609379" y="332132"/>
                  </a:cubicBezTo>
                  <a:cubicBezTo>
                    <a:pt x="607151" y="329899"/>
                    <a:pt x="602973" y="327945"/>
                    <a:pt x="603809" y="324596"/>
                  </a:cubicBezTo>
                  <a:cubicBezTo>
                    <a:pt x="604923" y="320967"/>
                    <a:pt x="609657" y="321805"/>
                    <a:pt x="612442" y="321526"/>
                  </a:cubicBezTo>
                  <a:cubicBezTo>
                    <a:pt x="637787" y="318735"/>
                    <a:pt x="663131" y="316781"/>
                    <a:pt x="688476" y="313711"/>
                  </a:cubicBezTo>
                  <a:cubicBezTo>
                    <a:pt x="741114" y="307291"/>
                    <a:pt x="790967" y="292220"/>
                    <a:pt x="837478" y="266263"/>
                  </a:cubicBezTo>
                  <a:cubicBezTo>
                    <a:pt x="850290" y="259007"/>
                    <a:pt x="855303" y="250634"/>
                    <a:pt x="853910" y="236120"/>
                  </a:cubicBezTo>
                  <a:cubicBezTo>
                    <a:pt x="853075" y="226631"/>
                    <a:pt x="851125" y="225235"/>
                    <a:pt x="843048" y="230259"/>
                  </a:cubicBezTo>
                  <a:cubicBezTo>
                    <a:pt x="762559" y="277148"/>
                    <a:pt x="676221" y="286917"/>
                    <a:pt x="585984" y="270729"/>
                  </a:cubicBezTo>
                  <a:cubicBezTo>
                    <a:pt x="563982" y="266822"/>
                    <a:pt x="542258" y="260681"/>
                    <a:pt x="519699" y="253425"/>
                  </a:cubicBezTo>
                  <a:cubicBezTo>
                    <a:pt x="529447" y="285242"/>
                    <a:pt x="533624" y="315944"/>
                    <a:pt x="530004" y="347761"/>
                  </a:cubicBezTo>
                  <a:cubicBezTo>
                    <a:pt x="523041" y="408885"/>
                    <a:pt x="474859" y="468333"/>
                    <a:pt x="416929" y="485079"/>
                  </a:cubicBezTo>
                  <a:cubicBezTo>
                    <a:pt x="413865" y="485917"/>
                    <a:pt x="410245" y="488429"/>
                    <a:pt x="407738" y="485079"/>
                  </a:cubicBezTo>
                  <a:cubicBezTo>
                    <a:pt x="405788" y="482568"/>
                    <a:pt x="408295" y="479497"/>
                    <a:pt x="409409" y="476986"/>
                  </a:cubicBezTo>
                  <a:cubicBezTo>
                    <a:pt x="418043" y="458286"/>
                    <a:pt x="426955" y="439586"/>
                    <a:pt x="435310" y="420607"/>
                  </a:cubicBezTo>
                  <a:cubicBezTo>
                    <a:pt x="460098" y="364507"/>
                    <a:pt x="476530" y="306454"/>
                    <a:pt x="474302" y="244493"/>
                  </a:cubicBezTo>
                  <a:cubicBezTo>
                    <a:pt x="474302" y="237237"/>
                    <a:pt x="472909" y="231376"/>
                    <a:pt x="465389" y="228585"/>
                  </a:cubicBezTo>
                  <a:cubicBezTo>
                    <a:pt x="459541" y="226352"/>
                    <a:pt x="453971" y="218816"/>
                    <a:pt x="448957" y="221049"/>
                  </a:cubicBezTo>
                  <a:cubicBezTo>
                    <a:pt x="442273" y="224119"/>
                    <a:pt x="448122" y="232213"/>
                    <a:pt x="447843" y="238074"/>
                  </a:cubicBezTo>
                  <a:cubicBezTo>
                    <a:pt x="445615" y="288592"/>
                    <a:pt x="434196" y="336876"/>
                    <a:pt x="412473" y="382649"/>
                  </a:cubicBezTo>
                  <a:cubicBezTo>
                    <a:pt x="388799" y="432329"/>
                    <a:pt x="356214" y="475311"/>
                    <a:pt x="315551" y="512431"/>
                  </a:cubicBezTo>
                  <a:cubicBezTo>
                    <a:pt x="312766" y="514943"/>
                    <a:pt x="307475" y="517176"/>
                    <a:pt x="308867" y="521642"/>
                  </a:cubicBezTo>
                  <a:cubicBezTo>
                    <a:pt x="309981" y="525549"/>
                    <a:pt x="315273" y="524712"/>
                    <a:pt x="318615" y="525549"/>
                  </a:cubicBezTo>
                  <a:cubicBezTo>
                    <a:pt x="335882" y="529736"/>
                    <a:pt x="352315" y="536434"/>
                    <a:pt x="368190" y="544807"/>
                  </a:cubicBezTo>
                  <a:cubicBezTo>
                    <a:pt x="433082" y="579695"/>
                    <a:pt x="469567" y="656727"/>
                    <a:pt x="453971" y="726503"/>
                  </a:cubicBezTo>
                  <a:cubicBezTo>
                    <a:pt x="453413" y="729573"/>
                    <a:pt x="453971" y="734318"/>
                    <a:pt x="450071" y="735155"/>
                  </a:cubicBezTo>
                  <a:cubicBezTo>
                    <a:pt x="446172" y="736271"/>
                    <a:pt x="445058" y="731527"/>
                    <a:pt x="443387" y="729015"/>
                  </a:cubicBezTo>
                  <a:cubicBezTo>
                    <a:pt x="430576" y="710873"/>
                    <a:pt x="418043" y="692452"/>
                    <a:pt x="404674" y="674869"/>
                  </a:cubicBezTo>
                  <a:cubicBezTo>
                    <a:pt x="369025" y="626863"/>
                    <a:pt x="327527" y="584998"/>
                    <a:pt x="274332" y="556530"/>
                  </a:cubicBezTo>
                  <a:cubicBezTo>
                    <a:pt x="270433" y="554576"/>
                    <a:pt x="266812" y="550948"/>
                    <a:pt x="262077" y="553739"/>
                  </a:cubicBezTo>
                  <a:cubicBezTo>
                    <a:pt x="254558" y="557925"/>
                    <a:pt x="246481" y="561833"/>
                    <a:pt x="239240" y="568252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75E5C281-55E2-8155-D4F7-4CC16E28A750}"/>
                </a:ext>
              </a:extLst>
            </p:cNvPr>
            <p:cNvSpPr/>
            <p:nvPr/>
          </p:nvSpPr>
          <p:spPr>
            <a:xfrm>
              <a:off x="17862505" y="-785323"/>
              <a:ext cx="262356" cy="349993"/>
            </a:xfrm>
            <a:custGeom>
              <a:avLst/>
              <a:gdLst>
                <a:gd name="connsiteX0" fmla="*/ 262356 w 262356"/>
                <a:gd name="connsiteY0" fmla="*/ 40470 h 349993"/>
                <a:gd name="connsiteX1" fmla="*/ 88288 w 262356"/>
                <a:gd name="connsiteY1" fmla="*/ 41028 h 349993"/>
                <a:gd name="connsiteX2" fmla="*/ 55145 w 262356"/>
                <a:gd name="connsiteY2" fmla="*/ 41028 h 349993"/>
                <a:gd name="connsiteX3" fmla="*/ 45397 w 262356"/>
                <a:gd name="connsiteY3" fmla="*/ 50797 h 349993"/>
                <a:gd name="connsiteX4" fmla="*/ 45397 w 262356"/>
                <a:gd name="connsiteY4" fmla="*/ 147366 h 349993"/>
                <a:gd name="connsiteX5" fmla="*/ 57930 w 262356"/>
                <a:gd name="connsiteY5" fmla="*/ 157972 h 349993"/>
                <a:gd name="connsiteX6" fmla="*/ 206654 w 262356"/>
                <a:gd name="connsiteY6" fmla="*/ 157972 h 349993"/>
                <a:gd name="connsiteX7" fmla="*/ 224757 w 262356"/>
                <a:gd name="connsiteY7" fmla="*/ 175555 h 349993"/>
                <a:gd name="connsiteX8" fmla="*/ 200248 w 262356"/>
                <a:gd name="connsiteY8" fmla="*/ 200116 h 349993"/>
                <a:gd name="connsiteX9" fmla="*/ 59323 w 262356"/>
                <a:gd name="connsiteY9" fmla="*/ 200116 h 349993"/>
                <a:gd name="connsiteX10" fmla="*/ 45118 w 262356"/>
                <a:gd name="connsiteY10" fmla="*/ 214071 h 349993"/>
                <a:gd name="connsiteX11" fmla="*/ 45118 w 262356"/>
                <a:gd name="connsiteY11" fmla="*/ 293895 h 349993"/>
                <a:gd name="connsiteX12" fmla="*/ 58487 w 262356"/>
                <a:gd name="connsiteY12" fmla="*/ 307291 h 349993"/>
                <a:gd name="connsiteX13" fmla="*/ 244810 w 262356"/>
                <a:gd name="connsiteY13" fmla="*/ 307291 h 349993"/>
                <a:gd name="connsiteX14" fmla="*/ 262356 w 262356"/>
                <a:gd name="connsiteY14" fmla="*/ 309524 h 349993"/>
                <a:gd name="connsiteX15" fmla="*/ 262356 w 262356"/>
                <a:gd name="connsiteY15" fmla="*/ 349436 h 349993"/>
                <a:gd name="connsiteX16" fmla="*/ 10583 w 262356"/>
                <a:gd name="connsiteY16" fmla="*/ 349994 h 349993"/>
                <a:gd name="connsiteX17" fmla="*/ 0 w 262356"/>
                <a:gd name="connsiteY17" fmla="*/ 337155 h 349993"/>
                <a:gd name="connsiteX18" fmla="*/ 0 w 262356"/>
                <a:gd name="connsiteY18" fmla="*/ 168299 h 349993"/>
                <a:gd name="connsiteX19" fmla="*/ 0 w 262356"/>
                <a:gd name="connsiteY19" fmla="*/ 12839 h 349993"/>
                <a:gd name="connsiteX20" fmla="*/ 10583 w 262356"/>
                <a:gd name="connsiteY20" fmla="*/ 0 h 349993"/>
                <a:gd name="connsiteX21" fmla="*/ 262356 w 262356"/>
                <a:gd name="connsiteY21" fmla="*/ 558 h 349993"/>
                <a:gd name="connsiteX22" fmla="*/ 262356 w 262356"/>
                <a:gd name="connsiteY22" fmla="*/ 40470 h 34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2356" h="349993">
                  <a:moveTo>
                    <a:pt x="262356" y="40470"/>
                  </a:moveTo>
                  <a:cubicBezTo>
                    <a:pt x="204426" y="40470"/>
                    <a:pt x="146218" y="40749"/>
                    <a:pt x="88288" y="41028"/>
                  </a:cubicBezTo>
                  <a:cubicBezTo>
                    <a:pt x="77147" y="41028"/>
                    <a:pt x="66007" y="41028"/>
                    <a:pt x="55145" y="41028"/>
                  </a:cubicBezTo>
                  <a:cubicBezTo>
                    <a:pt x="47904" y="41028"/>
                    <a:pt x="45397" y="43819"/>
                    <a:pt x="45397" y="50797"/>
                  </a:cubicBezTo>
                  <a:cubicBezTo>
                    <a:pt x="45397" y="82893"/>
                    <a:pt x="45676" y="115269"/>
                    <a:pt x="45397" y="147366"/>
                  </a:cubicBezTo>
                  <a:cubicBezTo>
                    <a:pt x="45397" y="157135"/>
                    <a:pt x="50410" y="157972"/>
                    <a:pt x="57930" y="157972"/>
                  </a:cubicBezTo>
                  <a:cubicBezTo>
                    <a:pt x="107505" y="157972"/>
                    <a:pt x="157080" y="157972"/>
                    <a:pt x="206654" y="157972"/>
                  </a:cubicBezTo>
                  <a:cubicBezTo>
                    <a:pt x="224757" y="157972"/>
                    <a:pt x="224757" y="157972"/>
                    <a:pt x="224757" y="175555"/>
                  </a:cubicBezTo>
                  <a:cubicBezTo>
                    <a:pt x="224757" y="202349"/>
                    <a:pt x="226707" y="200116"/>
                    <a:pt x="200248" y="200116"/>
                  </a:cubicBezTo>
                  <a:cubicBezTo>
                    <a:pt x="153180" y="200116"/>
                    <a:pt x="106391" y="200116"/>
                    <a:pt x="59323" y="200116"/>
                  </a:cubicBezTo>
                  <a:cubicBezTo>
                    <a:pt x="48739" y="200116"/>
                    <a:pt x="45118" y="203186"/>
                    <a:pt x="45118" y="214071"/>
                  </a:cubicBezTo>
                  <a:cubicBezTo>
                    <a:pt x="45676" y="240586"/>
                    <a:pt x="45676" y="267380"/>
                    <a:pt x="45118" y="293895"/>
                  </a:cubicBezTo>
                  <a:cubicBezTo>
                    <a:pt x="45118" y="304221"/>
                    <a:pt x="48460" y="307291"/>
                    <a:pt x="58487" y="307291"/>
                  </a:cubicBezTo>
                  <a:cubicBezTo>
                    <a:pt x="120594" y="307012"/>
                    <a:pt x="182702" y="307291"/>
                    <a:pt x="244810" y="307291"/>
                  </a:cubicBezTo>
                  <a:cubicBezTo>
                    <a:pt x="250659" y="307291"/>
                    <a:pt x="256786" y="306733"/>
                    <a:pt x="262356" y="309524"/>
                  </a:cubicBezTo>
                  <a:lnTo>
                    <a:pt x="262356" y="349436"/>
                  </a:lnTo>
                  <a:cubicBezTo>
                    <a:pt x="178525" y="349436"/>
                    <a:pt x="94693" y="349436"/>
                    <a:pt x="10583" y="349994"/>
                  </a:cubicBezTo>
                  <a:cubicBezTo>
                    <a:pt x="835" y="349994"/>
                    <a:pt x="0" y="344691"/>
                    <a:pt x="0" y="337155"/>
                  </a:cubicBezTo>
                  <a:cubicBezTo>
                    <a:pt x="0" y="280777"/>
                    <a:pt x="0" y="224677"/>
                    <a:pt x="0" y="168299"/>
                  </a:cubicBezTo>
                  <a:cubicBezTo>
                    <a:pt x="0" y="116386"/>
                    <a:pt x="0" y="64752"/>
                    <a:pt x="0" y="12839"/>
                  </a:cubicBezTo>
                  <a:cubicBezTo>
                    <a:pt x="0" y="5303"/>
                    <a:pt x="835" y="0"/>
                    <a:pt x="10583" y="0"/>
                  </a:cubicBezTo>
                  <a:cubicBezTo>
                    <a:pt x="94415" y="279"/>
                    <a:pt x="178246" y="279"/>
                    <a:pt x="262356" y="558"/>
                  </a:cubicBezTo>
                  <a:lnTo>
                    <a:pt x="262356" y="40470"/>
                  </a:ln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9F0B9D85-6A49-58ED-4426-35336D574D64}"/>
                </a:ext>
              </a:extLst>
            </p:cNvPr>
            <p:cNvSpPr/>
            <p:nvPr/>
          </p:nvSpPr>
          <p:spPr>
            <a:xfrm>
              <a:off x="13838601" y="-1847590"/>
              <a:ext cx="883881" cy="824859"/>
            </a:xfrm>
            <a:custGeom>
              <a:avLst/>
              <a:gdLst>
                <a:gd name="connsiteX0" fmla="*/ 430852 w 883881"/>
                <a:gd name="connsiteY0" fmla="*/ 284 h 824859"/>
                <a:gd name="connsiteX1" fmla="*/ 681511 w 883881"/>
                <a:gd name="connsiteY1" fmla="*/ 53592 h 824859"/>
                <a:gd name="connsiteX2" fmla="*/ 878417 w 883881"/>
                <a:gd name="connsiteY2" fmla="*/ 338834 h 824859"/>
                <a:gd name="connsiteX3" fmla="*/ 856972 w 883881"/>
                <a:gd name="connsiteY3" fmla="*/ 567419 h 824859"/>
                <a:gd name="connsiteX4" fmla="*/ 626644 w 883881"/>
                <a:gd name="connsiteY4" fmla="*/ 793213 h 824859"/>
                <a:gd name="connsiteX5" fmla="*/ 242023 w 883881"/>
                <a:gd name="connsiteY5" fmla="*/ 787352 h 824859"/>
                <a:gd name="connsiteX6" fmla="*/ 8353 w 883881"/>
                <a:gd name="connsiteY6" fmla="*/ 495690 h 824859"/>
                <a:gd name="connsiteX7" fmla="*/ 29520 w 883881"/>
                <a:gd name="connsiteY7" fmla="*/ 246731 h 824859"/>
                <a:gd name="connsiteX8" fmla="*/ 219463 w 883881"/>
                <a:gd name="connsiteY8" fmla="*/ 45219 h 824859"/>
                <a:gd name="connsiteX9" fmla="*/ 430852 w 883881"/>
                <a:gd name="connsiteY9" fmla="*/ 5 h 824859"/>
                <a:gd name="connsiteX10" fmla="*/ 438093 w 883881"/>
                <a:gd name="connsiteY10" fmla="*/ 169978 h 824859"/>
                <a:gd name="connsiteX11" fmla="*/ 383784 w 883881"/>
                <a:gd name="connsiteY11" fmla="*/ 175002 h 824859"/>
                <a:gd name="connsiteX12" fmla="*/ 203588 w 883881"/>
                <a:gd name="connsiteY12" fmla="*/ 328787 h 824859"/>
                <a:gd name="connsiteX13" fmla="*/ 197740 w 883881"/>
                <a:gd name="connsiteY13" fmla="*/ 473362 h 824859"/>
                <a:gd name="connsiteX14" fmla="*/ 346742 w 883881"/>
                <a:gd name="connsiteY14" fmla="*/ 640544 h 824859"/>
                <a:gd name="connsiteX15" fmla="*/ 501315 w 883881"/>
                <a:gd name="connsiteY15" fmla="*/ 648917 h 824859"/>
                <a:gd name="connsiteX16" fmla="*/ 677055 w 883881"/>
                <a:gd name="connsiteY16" fmla="*/ 503505 h 824859"/>
                <a:gd name="connsiteX17" fmla="*/ 683739 w 883881"/>
                <a:gd name="connsiteY17" fmla="*/ 342742 h 824859"/>
                <a:gd name="connsiteX18" fmla="*/ 565372 w 883881"/>
                <a:gd name="connsiteY18" fmla="*/ 195655 h 824859"/>
                <a:gd name="connsiteX19" fmla="*/ 437815 w 883881"/>
                <a:gd name="connsiteY19" fmla="*/ 169978 h 824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83881" h="824859">
                  <a:moveTo>
                    <a:pt x="430852" y="284"/>
                  </a:moveTo>
                  <a:cubicBezTo>
                    <a:pt x="526381" y="284"/>
                    <a:pt x="607149" y="14239"/>
                    <a:pt x="681511" y="53592"/>
                  </a:cubicBezTo>
                  <a:cubicBezTo>
                    <a:pt x="795978" y="114436"/>
                    <a:pt x="860035" y="211285"/>
                    <a:pt x="878417" y="338834"/>
                  </a:cubicBezTo>
                  <a:cubicBezTo>
                    <a:pt x="889558" y="416425"/>
                    <a:pt x="884266" y="493178"/>
                    <a:pt x="856972" y="567419"/>
                  </a:cubicBezTo>
                  <a:cubicBezTo>
                    <a:pt x="816031" y="679060"/>
                    <a:pt x="738605" y="755534"/>
                    <a:pt x="626644" y="793213"/>
                  </a:cubicBezTo>
                  <a:cubicBezTo>
                    <a:pt x="498530" y="836474"/>
                    <a:pt x="368744" y="836195"/>
                    <a:pt x="242023" y="787352"/>
                  </a:cubicBezTo>
                  <a:cubicBezTo>
                    <a:pt x="109174" y="735997"/>
                    <a:pt x="33697" y="634683"/>
                    <a:pt x="8353" y="495690"/>
                  </a:cubicBezTo>
                  <a:cubicBezTo>
                    <a:pt x="-6965" y="411122"/>
                    <a:pt x="-1952" y="327391"/>
                    <a:pt x="29520" y="246731"/>
                  </a:cubicBezTo>
                  <a:cubicBezTo>
                    <a:pt x="65447" y="153790"/>
                    <a:pt x="129784" y="87363"/>
                    <a:pt x="219463" y="45219"/>
                  </a:cubicBezTo>
                  <a:cubicBezTo>
                    <a:pt x="290205" y="12285"/>
                    <a:pt x="365124" y="-275"/>
                    <a:pt x="430852" y="5"/>
                  </a:cubicBezTo>
                  <a:close/>
                  <a:moveTo>
                    <a:pt x="438093" y="169978"/>
                  </a:moveTo>
                  <a:cubicBezTo>
                    <a:pt x="423332" y="169140"/>
                    <a:pt x="403280" y="171094"/>
                    <a:pt x="383784" y="175002"/>
                  </a:cubicBezTo>
                  <a:cubicBezTo>
                    <a:pt x="295218" y="192585"/>
                    <a:pt x="232553" y="241149"/>
                    <a:pt x="203588" y="328787"/>
                  </a:cubicBezTo>
                  <a:cubicBezTo>
                    <a:pt x="187992" y="376234"/>
                    <a:pt x="187435" y="424798"/>
                    <a:pt x="197740" y="473362"/>
                  </a:cubicBezTo>
                  <a:cubicBezTo>
                    <a:pt x="215564" y="557371"/>
                    <a:pt x="263747" y="614867"/>
                    <a:pt x="346742" y="640544"/>
                  </a:cubicBezTo>
                  <a:cubicBezTo>
                    <a:pt x="397431" y="656174"/>
                    <a:pt x="449234" y="657848"/>
                    <a:pt x="501315" y="648917"/>
                  </a:cubicBezTo>
                  <a:cubicBezTo>
                    <a:pt x="587375" y="634125"/>
                    <a:pt x="648368" y="587794"/>
                    <a:pt x="677055" y="503505"/>
                  </a:cubicBezTo>
                  <a:cubicBezTo>
                    <a:pt x="694879" y="450754"/>
                    <a:pt x="696829" y="396609"/>
                    <a:pt x="683739" y="342742"/>
                  </a:cubicBezTo>
                  <a:cubicBezTo>
                    <a:pt x="667307" y="275757"/>
                    <a:pt x="627758" y="226077"/>
                    <a:pt x="565372" y="195655"/>
                  </a:cubicBezTo>
                  <a:cubicBezTo>
                    <a:pt x="526660" y="176955"/>
                    <a:pt x="485440" y="169699"/>
                    <a:pt x="437815" y="169978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55559E91-FC34-7688-3F97-589CF15271F9}"/>
                </a:ext>
              </a:extLst>
            </p:cNvPr>
            <p:cNvSpPr/>
            <p:nvPr/>
          </p:nvSpPr>
          <p:spPr>
            <a:xfrm>
              <a:off x="12233827" y="-1833653"/>
              <a:ext cx="752791" cy="799233"/>
            </a:xfrm>
            <a:custGeom>
              <a:avLst/>
              <a:gdLst>
                <a:gd name="connsiteX0" fmla="*/ 0 w 752791"/>
                <a:gd name="connsiteY0" fmla="*/ 395510 h 799233"/>
                <a:gd name="connsiteX1" fmla="*/ 0 w 752791"/>
                <a:gd name="connsiteY1" fmla="*/ 16768 h 799233"/>
                <a:gd name="connsiteX2" fmla="*/ 16711 w 752791"/>
                <a:gd name="connsiteY2" fmla="*/ 301 h 799233"/>
                <a:gd name="connsiteX3" fmla="*/ 338389 w 752791"/>
                <a:gd name="connsiteY3" fmla="*/ 581 h 799233"/>
                <a:gd name="connsiteX4" fmla="*/ 516635 w 752791"/>
                <a:gd name="connsiteY4" fmla="*/ 34910 h 799233"/>
                <a:gd name="connsiteX5" fmla="*/ 648370 w 752791"/>
                <a:gd name="connsiteY5" fmla="*/ 212140 h 799233"/>
                <a:gd name="connsiteX6" fmla="*/ 645585 w 752791"/>
                <a:gd name="connsiteY6" fmla="*/ 339969 h 799233"/>
                <a:gd name="connsiteX7" fmla="*/ 529447 w 752791"/>
                <a:gd name="connsiteY7" fmla="*/ 492358 h 799233"/>
                <a:gd name="connsiteX8" fmla="*/ 524434 w 752791"/>
                <a:gd name="connsiteY8" fmla="*/ 508267 h 799233"/>
                <a:gd name="connsiteX9" fmla="*/ 577907 w 752791"/>
                <a:gd name="connsiteY9" fmla="*/ 610419 h 799233"/>
                <a:gd name="connsiteX10" fmla="*/ 657561 w 752791"/>
                <a:gd name="connsiteY10" fmla="*/ 649772 h 799233"/>
                <a:gd name="connsiteX11" fmla="*/ 692932 w 752791"/>
                <a:gd name="connsiteY11" fmla="*/ 640562 h 799233"/>
                <a:gd name="connsiteX12" fmla="*/ 709642 w 752791"/>
                <a:gd name="connsiteY12" fmla="*/ 647539 h 799233"/>
                <a:gd name="connsiteX13" fmla="*/ 751140 w 752791"/>
                <a:gd name="connsiteY13" fmla="*/ 746900 h 799233"/>
                <a:gd name="connsiteX14" fmla="*/ 745570 w 752791"/>
                <a:gd name="connsiteY14" fmla="*/ 762808 h 799233"/>
                <a:gd name="connsiteX15" fmla="*/ 651712 w 752791"/>
                <a:gd name="connsiteY15" fmla="*/ 794905 h 799233"/>
                <a:gd name="connsiteX16" fmla="*/ 539194 w 752791"/>
                <a:gd name="connsiteY16" fmla="*/ 794347 h 799233"/>
                <a:gd name="connsiteX17" fmla="*/ 423056 w 752791"/>
                <a:gd name="connsiteY17" fmla="*/ 716198 h 799233"/>
                <a:gd name="connsiteX18" fmla="*/ 352593 w 752791"/>
                <a:gd name="connsiteY18" fmla="*/ 581671 h 799233"/>
                <a:gd name="connsiteX19" fmla="*/ 334768 w 752791"/>
                <a:gd name="connsiteY19" fmla="*/ 544830 h 799233"/>
                <a:gd name="connsiteX20" fmla="*/ 321957 w 752791"/>
                <a:gd name="connsiteY20" fmla="*/ 536736 h 799233"/>
                <a:gd name="connsiteX21" fmla="*/ 199970 w 752791"/>
                <a:gd name="connsiteY21" fmla="*/ 536736 h 799233"/>
                <a:gd name="connsiteX22" fmla="*/ 189387 w 752791"/>
                <a:gd name="connsiteY22" fmla="*/ 549016 h 799233"/>
                <a:gd name="connsiteX23" fmla="*/ 189387 w 752791"/>
                <a:gd name="connsiteY23" fmla="*/ 775647 h 799233"/>
                <a:gd name="connsiteX24" fmla="*/ 173233 w 752791"/>
                <a:gd name="connsiteY24" fmla="*/ 792393 h 799233"/>
                <a:gd name="connsiteX25" fmla="*/ 17825 w 752791"/>
                <a:gd name="connsiteY25" fmla="*/ 792393 h 799233"/>
                <a:gd name="connsiteX26" fmla="*/ 0 w 752791"/>
                <a:gd name="connsiteY26" fmla="*/ 774810 h 799233"/>
                <a:gd name="connsiteX27" fmla="*/ 0 w 752791"/>
                <a:gd name="connsiteY27" fmla="*/ 396068 h 799233"/>
                <a:gd name="connsiteX28" fmla="*/ 189387 w 752791"/>
                <a:gd name="connsiteY28" fmla="*/ 272705 h 799233"/>
                <a:gd name="connsiteX29" fmla="*/ 189387 w 752791"/>
                <a:gd name="connsiteY29" fmla="*/ 364809 h 799233"/>
                <a:gd name="connsiteX30" fmla="*/ 202755 w 752791"/>
                <a:gd name="connsiteY30" fmla="*/ 377927 h 799233"/>
                <a:gd name="connsiteX31" fmla="*/ 324742 w 752791"/>
                <a:gd name="connsiteY31" fmla="*/ 377648 h 799233"/>
                <a:gd name="connsiteX32" fmla="*/ 384065 w 752791"/>
                <a:gd name="connsiteY32" fmla="*/ 370670 h 799233"/>
                <a:gd name="connsiteX33" fmla="*/ 461212 w 752791"/>
                <a:gd name="connsiteY33" fmla="*/ 303964 h 799233"/>
                <a:gd name="connsiteX34" fmla="*/ 462883 w 752791"/>
                <a:gd name="connsiteY34" fmla="*/ 240329 h 799233"/>
                <a:gd name="connsiteX35" fmla="*/ 407738 w 752791"/>
                <a:gd name="connsiteY35" fmla="*/ 177531 h 799233"/>
                <a:gd name="connsiteX36" fmla="*/ 347858 w 752791"/>
                <a:gd name="connsiteY36" fmla="*/ 168042 h 799233"/>
                <a:gd name="connsiteX37" fmla="*/ 201641 w 752791"/>
                <a:gd name="connsiteY37" fmla="*/ 167484 h 799233"/>
                <a:gd name="connsiteX38" fmla="*/ 189387 w 752791"/>
                <a:gd name="connsiteY38" fmla="*/ 179485 h 799233"/>
                <a:gd name="connsiteX39" fmla="*/ 189387 w 752791"/>
                <a:gd name="connsiteY39" fmla="*/ 272705 h 7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52791" h="799233">
                  <a:moveTo>
                    <a:pt x="0" y="395510"/>
                  </a:moveTo>
                  <a:cubicBezTo>
                    <a:pt x="0" y="269356"/>
                    <a:pt x="0" y="143202"/>
                    <a:pt x="0" y="16768"/>
                  </a:cubicBezTo>
                  <a:cubicBezTo>
                    <a:pt x="0" y="301"/>
                    <a:pt x="0" y="301"/>
                    <a:pt x="16711" y="301"/>
                  </a:cubicBezTo>
                  <a:cubicBezTo>
                    <a:pt x="123937" y="301"/>
                    <a:pt x="231163" y="-536"/>
                    <a:pt x="338389" y="581"/>
                  </a:cubicBezTo>
                  <a:cubicBezTo>
                    <a:pt x="399661" y="1139"/>
                    <a:pt x="460098" y="8674"/>
                    <a:pt x="516635" y="34910"/>
                  </a:cubicBezTo>
                  <a:cubicBezTo>
                    <a:pt x="592668" y="70077"/>
                    <a:pt x="635280" y="130084"/>
                    <a:pt x="648370" y="212140"/>
                  </a:cubicBezTo>
                  <a:cubicBezTo>
                    <a:pt x="655054" y="254843"/>
                    <a:pt x="654497" y="297545"/>
                    <a:pt x="645585" y="339969"/>
                  </a:cubicBezTo>
                  <a:cubicBezTo>
                    <a:pt x="631102" y="409186"/>
                    <a:pt x="592668" y="460262"/>
                    <a:pt x="529447" y="492358"/>
                  </a:cubicBezTo>
                  <a:cubicBezTo>
                    <a:pt x="521091" y="496545"/>
                    <a:pt x="519977" y="500173"/>
                    <a:pt x="524434" y="508267"/>
                  </a:cubicBezTo>
                  <a:cubicBezTo>
                    <a:pt x="542537" y="542318"/>
                    <a:pt x="560083" y="576368"/>
                    <a:pt x="577907" y="610419"/>
                  </a:cubicBezTo>
                  <a:cubicBezTo>
                    <a:pt x="595453" y="644190"/>
                    <a:pt x="620241" y="656191"/>
                    <a:pt x="657561" y="649772"/>
                  </a:cubicBezTo>
                  <a:cubicBezTo>
                    <a:pt x="669537" y="647818"/>
                    <a:pt x="681513" y="645306"/>
                    <a:pt x="692932" y="640562"/>
                  </a:cubicBezTo>
                  <a:cubicBezTo>
                    <a:pt x="701566" y="636654"/>
                    <a:pt x="706022" y="638608"/>
                    <a:pt x="709642" y="647539"/>
                  </a:cubicBezTo>
                  <a:cubicBezTo>
                    <a:pt x="723011" y="680752"/>
                    <a:pt x="736936" y="713966"/>
                    <a:pt x="751140" y="746900"/>
                  </a:cubicBezTo>
                  <a:cubicBezTo>
                    <a:pt x="754482" y="754714"/>
                    <a:pt x="752811" y="758622"/>
                    <a:pt x="745570" y="762808"/>
                  </a:cubicBezTo>
                  <a:cubicBezTo>
                    <a:pt x="716048" y="779275"/>
                    <a:pt x="684576" y="789602"/>
                    <a:pt x="651712" y="794905"/>
                  </a:cubicBezTo>
                  <a:cubicBezTo>
                    <a:pt x="614114" y="800766"/>
                    <a:pt x="576793" y="800766"/>
                    <a:pt x="539194" y="794347"/>
                  </a:cubicBezTo>
                  <a:cubicBezTo>
                    <a:pt x="488784" y="785416"/>
                    <a:pt x="450907" y="758064"/>
                    <a:pt x="423056" y="716198"/>
                  </a:cubicBezTo>
                  <a:cubicBezTo>
                    <a:pt x="394648" y="674054"/>
                    <a:pt x="375431" y="626886"/>
                    <a:pt x="352593" y="581671"/>
                  </a:cubicBezTo>
                  <a:cubicBezTo>
                    <a:pt x="346466" y="569391"/>
                    <a:pt x="340339" y="557110"/>
                    <a:pt x="334768" y="544830"/>
                  </a:cubicBezTo>
                  <a:cubicBezTo>
                    <a:pt x="331983" y="538969"/>
                    <a:pt x="328363" y="536736"/>
                    <a:pt x="321957" y="536736"/>
                  </a:cubicBezTo>
                  <a:cubicBezTo>
                    <a:pt x="281295" y="536736"/>
                    <a:pt x="240632" y="537015"/>
                    <a:pt x="199970" y="536736"/>
                  </a:cubicBezTo>
                  <a:cubicBezTo>
                    <a:pt x="190500" y="536736"/>
                    <a:pt x="189387" y="541201"/>
                    <a:pt x="189387" y="549016"/>
                  </a:cubicBezTo>
                  <a:cubicBezTo>
                    <a:pt x="189387" y="624653"/>
                    <a:pt x="189387" y="700010"/>
                    <a:pt x="189387" y="775647"/>
                  </a:cubicBezTo>
                  <a:cubicBezTo>
                    <a:pt x="189387" y="786811"/>
                    <a:pt x="184011" y="792393"/>
                    <a:pt x="173233" y="792393"/>
                  </a:cubicBezTo>
                  <a:cubicBezTo>
                    <a:pt x="121430" y="792393"/>
                    <a:pt x="69627" y="792393"/>
                    <a:pt x="17825" y="792393"/>
                  </a:cubicBezTo>
                  <a:cubicBezTo>
                    <a:pt x="5932" y="792393"/>
                    <a:pt x="0" y="786532"/>
                    <a:pt x="0" y="774810"/>
                  </a:cubicBezTo>
                  <a:cubicBezTo>
                    <a:pt x="0" y="648656"/>
                    <a:pt x="0" y="522501"/>
                    <a:pt x="0" y="396068"/>
                  </a:cubicBezTo>
                  <a:close/>
                  <a:moveTo>
                    <a:pt x="189387" y="272705"/>
                  </a:moveTo>
                  <a:cubicBezTo>
                    <a:pt x="189387" y="303406"/>
                    <a:pt x="189665" y="334108"/>
                    <a:pt x="189387" y="364809"/>
                  </a:cubicBezTo>
                  <a:cubicBezTo>
                    <a:pt x="189387" y="375136"/>
                    <a:pt x="192729" y="377927"/>
                    <a:pt x="202755" y="377927"/>
                  </a:cubicBezTo>
                  <a:cubicBezTo>
                    <a:pt x="243417" y="377368"/>
                    <a:pt x="284080" y="377927"/>
                    <a:pt x="324742" y="377648"/>
                  </a:cubicBezTo>
                  <a:cubicBezTo>
                    <a:pt x="344795" y="377648"/>
                    <a:pt x="364569" y="375415"/>
                    <a:pt x="384065" y="370670"/>
                  </a:cubicBezTo>
                  <a:cubicBezTo>
                    <a:pt x="420828" y="361460"/>
                    <a:pt x="450350" y="343318"/>
                    <a:pt x="461212" y="303964"/>
                  </a:cubicBezTo>
                  <a:cubicBezTo>
                    <a:pt x="467060" y="283032"/>
                    <a:pt x="467339" y="261541"/>
                    <a:pt x="462883" y="240329"/>
                  </a:cubicBezTo>
                  <a:cubicBezTo>
                    <a:pt x="456477" y="209070"/>
                    <a:pt x="437538" y="188695"/>
                    <a:pt x="407738" y="177531"/>
                  </a:cubicBezTo>
                  <a:cubicBezTo>
                    <a:pt x="388242" y="170275"/>
                    <a:pt x="368190" y="168321"/>
                    <a:pt x="347858" y="168042"/>
                  </a:cubicBezTo>
                  <a:cubicBezTo>
                    <a:pt x="299119" y="167205"/>
                    <a:pt x="250380" y="168042"/>
                    <a:pt x="201641" y="167484"/>
                  </a:cubicBezTo>
                  <a:cubicBezTo>
                    <a:pt x="192450" y="167484"/>
                    <a:pt x="189387" y="170275"/>
                    <a:pt x="189387" y="179485"/>
                  </a:cubicBezTo>
                  <a:cubicBezTo>
                    <a:pt x="189943" y="210465"/>
                    <a:pt x="189387" y="241725"/>
                    <a:pt x="189387" y="272705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7B585FBC-90CF-EEB5-B9B1-1A8C0FA7AF89}"/>
                </a:ext>
              </a:extLst>
            </p:cNvPr>
            <p:cNvSpPr/>
            <p:nvPr/>
          </p:nvSpPr>
          <p:spPr>
            <a:xfrm>
              <a:off x="14793572" y="-1847696"/>
              <a:ext cx="718052" cy="823104"/>
            </a:xfrm>
            <a:custGeom>
              <a:avLst/>
              <a:gdLst>
                <a:gd name="connsiteX0" fmla="*/ 365441 w 718052"/>
                <a:gd name="connsiteY0" fmla="*/ 669 h 823104"/>
                <a:gd name="connsiteX1" fmla="*/ 674586 w 718052"/>
                <a:gd name="connsiteY1" fmla="*/ 61234 h 823104"/>
                <a:gd name="connsiteX2" fmla="*/ 705779 w 718052"/>
                <a:gd name="connsiteY2" fmla="*/ 78538 h 823104"/>
                <a:gd name="connsiteX3" fmla="*/ 695475 w 718052"/>
                <a:gd name="connsiteY3" fmla="*/ 111193 h 823104"/>
                <a:gd name="connsiteX4" fmla="*/ 647014 w 718052"/>
                <a:gd name="connsiteY4" fmla="*/ 230370 h 823104"/>
                <a:gd name="connsiteX5" fmla="*/ 633924 w 718052"/>
                <a:gd name="connsiteY5" fmla="*/ 234835 h 823104"/>
                <a:gd name="connsiteX6" fmla="*/ 454564 w 718052"/>
                <a:gd name="connsiteY6" fmla="*/ 177340 h 823104"/>
                <a:gd name="connsiteX7" fmla="*/ 355136 w 718052"/>
                <a:gd name="connsiteY7" fmla="*/ 170921 h 823104"/>
                <a:gd name="connsiteX8" fmla="*/ 263506 w 718052"/>
                <a:gd name="connsiteY8" fmla="*/ 185434 h 823104"/>
                <a:gd name="connsiteX9" fmla="*/ 227857 w 718052"/>
                <a:gd name="connsiteY9" fmla="*/ 210832 h 823104"/>
                <a:gd name="connsiteX10" fmla="*/ 237326 w 718052"/>
                <a:gd name="connsiteY10" fmla="*/ 275863 h 823104"/>
                <a:gd name="connsiteX11" fmla="*/ 292750 w 718052"/>
                <a:gd name="connsiteY11" fmla="*/ 302936 h 823104"/>
                <a:gd name="connsiteX12" fmla="*/ 444259 w 718052"/>
                <a:gd name="connsiteY12" fmla="*/ 336428 h 823104"/>
                <a:gd name="connsiteX13" fmla="*/ 620277 w 718052"/>
                <a:gd name="connsiteY13" fmla="*/ 398668 h 823104"/>
                <a:gd name="connsiteX14" fmla="*/ 716363 w 718052"/>
                <a:gd name="connsiteY14" fmla="*/ 549942 h 823104"/>
                <a:gd name="connsiteX15" fmla="*/ 677928 w 718052"/>
                <a:gd name="connsiteY15" fmla="*/ 707634 h 823104"/>
                <a:gd name="connsiteX16" fmla="*/ 559841 w 718052"/>
                <a:gd name="connsiteY16" fmla="*/ 792481 h 823104"/>
                <a:gd name="connsiteX17" fmla="*/ 419193 w 718052"/>
                <a:gd name="connsiteY17" fmla="*/ 821229 h 823104"/>
                <a:gd name="connsiteX18" fmla="*/ 156002 w 718052"/>
                <a:gd name="connsiteY18" fmla="*/ 793877 h 823104"/>
                <a:gd name="connsiteX19" fmla="*/ 6999 w 718052"/>
                <a:gd name="connsiteY19" fmla="*/ 717682 h 823104"/>
                <a:gd name="connsiteX20" fmla="*/ 2822 w 718052"/>
                <a:gd name="connsiteY20" fmla="*/ 697028 h 823104"/>
                <a:gd name="connsiteX21" fmla="*/ 70221 w 718052"/>
                <a:gd name="connsiteY21" fmla="*/ 570595 h 823104"/>
                <a:gd name="connsiteX22" fmla="*/ 87488 w 718052"/>
                <a:gd name="connsiteY22" fmla="*/ 566409 h 823104"/>
                <a:gd name="connsiteX23" fmla="*/ 325336 w 718052"/>
                <a:gd name="connsiteY23" fmla="*/ 651814 h 823104"/>
                <a:gd name="connsiteX24" fmla="*/ 444538 w 718052"/>
                <a:gd name="connsiteY24" fmla="*/ 646790 h 823104"/>
                <a:gd name="connsiteX25" fmla="*/ 497733 w 718052"/>
                <a:gd name="connsiteY25" fmla="*/ 625299 h 823104"/>
                <a:gd name="connsiteX26" fmla="*/ 491327 w 718052"/>
                <a:gd name="connsiteY26" fmla="*/ 535986 h 823104"/>
                <a:gd name="connsiteX27" fmla="*/ 391342 w 718052"/>
                <a:gd name="connsiteY27" fmla="*/ 507518 h 823104"/>
                <a:gd name="connsiteX28" fmla="*/ 209754 w 718052"/>
                <a:gd name="connsiteY28" fmla="*/ 467048 h 823104"/>
                <a:gd name="connsiteX29" fmla="*/ 95565 w 718052"/>
                <a:gd name="connsiteY29" fmla="*/ 409553 h 823104"/>
                <a:gd name="connsiteX30" fmla="*/ 23710 w 718052"/>
                <a:gd name="connsiteY30" fmla="*/ 282283 h 823104"/>
                <a:gd name="connsiteX31" fmla="*/ 71335 w 718052"/>
                <a:gd name="connsiteY31" fmla="*/ 107844 h 823104"/>
                <a:gd name="connsiteX32" fmla="*/ 193600 w 718052"/>
                <a:gd name="connsiteY32" fmla="*/ 26346 h 823104"/>
                <a:gd name="connsiteX33" fmla="*/ 365719 w 718052"/>
                <a:gd name="connsiteY33" fmla="*/ 110 h 823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18052" h="823104">
                  <a:moveTo>
                    <a:pt x="365441" y="669"/>
                  </a:moveTo>
                  <a:cubicBezTo>
                    <a:pt x="472389" y="1506"/>
                    <a:pt x="575715" y="19368"/>
                    <a:pt x="674586" y="61234"/>
                  </a:cubicBezTo>
                  <a:cubicBezTo>
                    <a:pt x="685727" y="65978"/>
                    <a:pt x="701045" y="68490"/>
                    <a:pt x="705779" y="78538"/>
                  </a:cubicBezTo>
                  <a:cubicBezTo>
                    <a:pt x="710514" y="88586"/>
                    <a:pt x="699931" y="100308"/>
                    <a:pt x="695475" y="111193"/>
                  </a:cubicBezTo>
                  <a:cubicBezTo>
                    <a:pt x="679600" y="151105"/>
                    <a:pt x="662889" y="190737"/>
                    <a:pt x="647014" y="230370"/>
                  </a:cubicBezTo>
                  <a:cubicBezTo>
                    <a:pt x="643951" y="237626"/>
                    <a:pt x="641165" y="238743"/>
                    <a:pt x="633924" y="234835"/>
                  </a:cubicBezTo>
                  <a:cubicBezTo>
                    <a:pt x="578222" y="202738"/>
                    <a:pt x="517507" y="186271"/>
                    <a:pt x="454564" y="177340"/>
                  </a:cubicBezTo>
                  <a:cubicBezTo>
                    <a:pt x="421700" y="172595"/>
                    <a:pt x="388279" y="170084"/>
                    <a:pt x="355136" y="170921"/>
                  </a:cubicBezTo>
                  <a:cubicBezTo>
                    <a:pt x="324221" y="171758"/>
                    <a:pt x="293028" y="173712"/>
                    <a:pt x="263506" y="185434"/>
                  </a:cubicBezTo>
                  <a:cubicBezTo>
                    <a:pt x="249581" y="191016"/>
                    <a:pt x="236769" y="198273"/>
                    <a:pt x="227857" y="210832"/>
                  </a:cubicBezTo>
                  <a:cubicBezTo>
                    <a:pt x="211982" y="233161"/>
                    <a:pt x="215881" y="258838"/>
                    <a:pt x="237326" y="275863"/>
                  </a:cubicBezTo>
                  <a:cubicBezTo>
                    <a:pt x="253758" y="288981"/>
                    <a:pt x="272976" y="296796"/>
                    <a:pt x="292750" y="302936"/>
                  </a:cubicBezTo>
                  <a:cubicBezTo>
                    <a:pt x="342325" y="318566"/>
                    <a:pt x="393570" y="325543"/>
                    <a:pt x="444259" y="336428"/>
                  </a:cubicBezTo>
                  <a:cubicBezTo>
                    <a:pt x="505531" y="349825"/>
                    <a:pt x="565689" y="365734"/>
                    <a:pt x="620277" y="398668"/>
                  </a:cubicBezTo>
                  <a:cubicBezTo>
                    <a:pt x="677372" y="433277"/>
                    <a:pt x="709122" y="483515"/>
                    <a:pt x="716363" y="549942"/>
                  </a:cubicBezTo>
                  <a:cubicBezTo>
                    <a:pt x="722490" y="607437"/>
                    <a:pt x="712464" y="660466"/>
                    <a:pt x="677928" y="707634"/>
                  </a:cubicBezTo>
                  <a:cubicBezTo>
                    <a:pt x="647850" y="748662"/>
                    <a:pt x="606630" y="774619"/>
                    <a:pt x="559841" y="792481"/>
                  </a:cubicBezTo>
                  <a:cubicBezTo>
                    <a:pt x="514722" y="809786"/>
                    <a:pt x="467375" y="818159"/>
                    <a:pt x="419193" y="821229"/>
                  </a:cubicBezTo>
                  <a:cubicBezTo>
                    <a:pt x="329791" y="827090"/>
                    <a:pt x="242061" y="819554"/>
                    <a:pt x="156002" y="793877"/>
                  </a:cubicBezTo>
                  <a:cubicBezTo>
                    <a:pt x="101692" y="777689"/>
                    <a:pt x="50725" y="754523"/>
                    <a:pt x="6999" y="717682"/>
                  </a:cubicBezTo>
                  <a:cubicBezTo>
                    <a:pt x="-799" y="711262"/>
                    <a:pt x="-1913" y="705681"/>
                    <a:pt x="2822" y="697028"/>
                  </a:cubicBezTo>
                  <a:cubicBezTo>
                    <a:pt x="25659" y="655163"/>
                    <a:pt x="48219" y="613019"/>
                    <a:pt x="70221" y="570595"/>
                  </a:cubicBezTo>
                  <a:cubicBezTo>
                    <a:pt x="74955" y="561664"/>
                    <a:pt x="78576" y="559989"/>
                    <a:pt x="87488" y="566409"/>
                  </a:cubicBezTo>
                  <a:cubicBezTo>
                    <a:pt x="158230" y="618322"/>
                    <a:pt x="238440" y="644557"/>
                    <a:pt x="325336" y="651814"/>
                  </a:cubicBezTo>
                  <a:cubicBezTo>
                    <a:pt x="365441" y="655163"/>
                    <a:pt x="404989" y="654326"/>
                    <a:pt x="444538" y="646790"/>
                  </a:cubicBezTo>
                  <a:cubicBezTo>
                    <a:pt x="463476" y="643162"/>
                    <a:pt x="481301" y="636463"/>
                    <a:pt x="497733" y="625299"/>
                  </a:cubicBezTo>
                  <a:cubicBezTo>
                    <a:pt x="528369" y="604366"/>
                    <a:pt x="530319" y="553570"/>
                    <a:pt x="491327" y="535986"/>
                  </a:cubicBezTo>
                  <a:cubicBezTo>
                    <a:pt x="459299" y="521473"/>
                    <a:pt x="425320" y="514216"/>
                    <a:pt x="391342" y="507518"/>
                  </a:cubicBezTo>
                  <a:cubicBezTo>
                    <a:pt x="330349" y="495517"/>
                    <a:pt x="268798" y="486306"/>
                    <a:pt x="209754" y="467048"/>
                  </a:cubicBezTo>
                  <a:cubicBezTo>
                    <a:pt x="168813" y="453651"/>
                    <a:pt x="129543" y="436905"/>
                    <a:pt x="95565" y="409553"/>
                  </a:cubicBezTo>
                  <a:cubicBezTo>
                    <a:pt x="54624" y="376898"/>
                    <a:pt x="31230" y="333917"/>
                    <a:pt x="23710" y="282283"/>
                  </a:cubicBezTo>
                  <a:cubicBezTo>
                    <a:pt x="14241" y="217252"/>
                    <a:pt x="29280" y="158640"/>
                    <a:pt x="71335" y="107844"/>
                  </a:cubicBezTo>
                  <a:cubicBezTo>
                    <a:pt x="103921" y="68490"/>
                    <a:pt x="146254" y="43371"/>
                    <a:pt x="193600" y="26346"/>
                  </a:cubicBezTo>
                  <a:cubicBezTo>
                    <a:pt x="249302" y="6251"/>
                    <a:pt x="306954" y="-1006"/>
                    <a:pt x="365719" y="110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666AAF96-19D7-5050-F43E-06785819F444}"/>
                </a:ext>
              </a:extLst>
            </p:cNvPr>
            <p:cNvSpPr/>
            <p:nvPr/>
          </p:nvSpPr>
          <p:spPr>
            <a:xfrm>
              <a:off x="15633315" y="-1833073"/>
              <a:ext cx="650611" cy="790975"/>
            </a:xfrm>
            <a:custGeom>
              <a:avLst/>
              <a:gdLst>
                <a:gd name="connsiteX0" fmla="*/ 0 w 650611"/>
                <a:gd name="connsiteY0" fmla="*/ 395209 h 790975"/>
                <a:gd name="connsiteX1" fmla="*/ 0 w 650611"/>
                <a:gd name="connsiteY1" fmla="*/ 18700 h 790975"/>
                <a:gd name="connsiteX2" fmla="*/ 18103 w 650611"/>
                <a:gd name="connsiteY2" fmla="*/ 0 h 790975"/>
                <a:gd name="connsiteX3" fmla="*/ 631381 w 650611"/>
                <a:gd name="connsiteY3" fmla="*/ 0 h 790975"/>
                <a:gd name="connsiteX4" fmla="*/ 650041 w 650611"/>
                <a:gd name="connsiteY4" fmla="*/ 18421 h 790975"/>
                <a:gd name="connsiteX5" fmla="*/ 650041 w 650611"/>
                <a:gd name="connsiteY5" fmla="*/ 149320 h 790975"/>
                <a:gd name="connsiteX6" fmla="*/ 632217 w 650611"/>
                <a:gd name="connsiteY6" fmla="*/ 166624 h 790975"/>
                <a:gd name="connsiteX7" fmla="*/ 207490 w 650611"/>
                <a:gd name="connsiteY7" fmla="*/ 166624 h 790975"/>
                <a:gd name="connsiteX8" fmla="*/ 190500 w 650611"/>
                <a:gd name="connsiteY8" fmla="*/ 183928 h 790975"/>
                <a:gd name="connsiteX9" fmla="*/ 190500 w 650611"/>
                <a:gd name="connsiteY9" fmla="*/ 305059 h 790975"/>
                <a:gd name="connsiteX10" fmla="*/ 205261 w 650611"/>
                <a:gd name="connsiteY10" fmla="*/ 319572 h 790975"/>
                <a:gd name="connsiteX11" fmla="*/ 533624 w 650611"/>
                <a:gd name="connsiteY11" fmla="*/ 319572 h 790975"/>
                <a:gd name="connsiteX12" fmla="*/ 550892 w 650611"/>
                <a:gd name="connsiteY12" fmla="*/ 336597 h 790975"/>
                <a:gd name="connsiteX13" fmla="*/ 550892 w 650611"/>
                <a:gd name="connsiteY13" fmla="*/ 453262 h 790975"/>
                <a:gd name="connsiteX14" fmla="*/ 534738 w 650611"/>
                <a:gd name="connsiteY14" fmla="*/ 468892 h 790975"/>
                <a:gd name="connsiteX15" fmla="*/ 207490 w 650611"/>
                <a:gd name="connsiteY15" fmla="*/ 468892 h 790975"/>
                <a:gd name="connsiteX16" fmla="*/ 191058 w 650611"/>
                <a:gd name="connsiteY16" fmla="*/ 485359 h 790975"/>
                <a:gd name="connsiteX17" fmla="*/ 191058 w 650611"/>
                <a:gd name="connsiteY17" fmla="*/ 608722 h 790975"/>
                <a:gd name="connsiteX18" fmla="*/ 206654 w 650611"/>
                <a:gd name="connsiteY18" fmla="*/ 624072 h 790975"/>
                <a:gd name="connsiteX19" fmla="*/ 626925 w 650611"/>
                <a:gd name="connsiteY19" fmla="*/ 624072 h 790975"/>
                <a:gd name="connsiteX20" fmla="*/ 636951 w 650611"/>
                <a:gd name="connsiteY20" fmla="*/ 624072 h 790975"/>
                <a:gd name="connsiteX21" fmla="*/ 650598 w 650611"/>
                <a:gd name="connsiteY21" fmla="*/ 637469 h 790975"/>
                <a:gd name="connsiteX22" fmla="*/ 650598 w 650611"/>
                <a:gd name="connsiteY22" fmla="*/ 709757 h 790975"/>
                <a:gd name="connsiteX23" fmla="*/ 650598 w 650611"/>
                <a:gd name="connsiteY23" fmla="*/ 771996 h 790975"/>
                <a:gd name="connsiteX24" fmla="*/ 631938 w 650611"/>
                <a:gd name="connsiteY24" fmla="*/ 790975 h 790975"/>
                <a:gd name="connsiteX25" fmla="*/ 315830 w 650611"/>
                <a:gd name="connsiteY25" fmla="*/ 790975 h 790975"/>
                <a:gd name="connsiteX26" fmla="*/ 16432 w 650611"/>
                <a:gd name="connsiteY26" fmla="*/ 790975 h 790975"/>
                <a:gd name="connsiteX27" fmla="*/ 278 w 650611"/>
                <a:gd name="connsiteY27" fmla="*/ 774788 h 790975"/>
                <a:gd name="connsiteX28" fmla="*/ 278 w 650611"/>
                <a:gd name="connsiteY28" fmla="*/ 394930 h 79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50611" h="790975">
                  <a:moveTo>
                    <a:pt x="0" y="395209"/>
                  </a:moveTo>
                  <a:cubicBezTo>
                    <a:pt x="0" y="269613"/>
                    <a:pt x="0" y="144296"/>
                    <a:pt x="0" y="18700"/>
                  </a:cubicBezTo>
                  <a:cubicBezTo>
                    <a:pt x="0" y="6232"/>
                    <a:pt x="6044" y="0"/>
                    <a:pt x="18103" y="0"/>
                  </a:cubicBezTo>
                  <a:cubicBezTo>
                    <a:pt x="222529" y="0"/>
                    <a:pt x="426955" y="0"/>
                    <a:pt x="631381" y="0"/>
                  </a:cubicBezTo>
                  <a:cubicBezTo>
                    <a:pt x="643830" y="0"/>
                    <a:pt x="650041" y="6140"/>
                    <a:pt x="650041" y="18421"/>
                  </a:cubicBezTo>
                  <a:cubicBezTo>
                    <a:pt x="650041" y="61961"/>
                    <a:pt x="650041" y="105780"/>
                    <a:pt x="650041" y="149320"/>
                  </a:cubicBezTo>
                  <a:cubicBezTo>
                    <a:pt x="650041" y="160855"/>
                    <a:pt x="644109" y="166624"/>
                    <a:pt x="632217" y="166624"/>
                  </a:cubicBezTo>
                  <a:cubicBezTo>
                    <a:pt x="490734" y="166624"/>
                    <a:pt x="348972" y="166624"/>
                    <a:pt x="207490" y="166624"/>
                  </a:cubicBezTo>
                  <a:cubicBezTo>
                    <a:pt x="196154" y="166624"/>
                    <a:pt x="190500" y="172393"/>
                    <a:pt x="190500" y="183928"/>
                  </a:cubicBezTo>
                  <a:cubicBezTo>
                    <a:pt x="190500" y="224398"/>
                    <a:pt x="190779" y="264589"/>
                    <a:pt x="190500" y="305059"/>
                  </a:cubicBezTo>
                  <a:cubicBezTo>
                    <a:pt x="190500" y="316502"/>
                    <a:pt x="194121" y="319572"/>
                    <a:pt x="205261" y="319572"/>
                  </a:cubicBezTo>
                  <a:cubicBezTo>
                    <a:pt x="314715" y="319293"/>
                    <a:pt x="424170" y="319572"/>
                    <a:pt x="533624" y="319572"/>
                  </a:cubicBezTo>
                  <a:cubicBezTo>
                    <a:pt x="544960" y="319572"/>
                    <a:pt x="550697" y="325246"/>
                    <a:pt x="550892" y="336597"/>
                  </a:cubicBezTo>
                  <a:cubicBezTo>
                    <a:pt x="550892" y="375392"/>
                    <a:pt x="550892" y="414188"/>
                    <a:pt x="550892" y="453262"/>
                  </a:cubicBezTo>
                  <a:cubicBezTo>
                    <a:pt x="550892" y="468892"/>
                    <a:pt x="550892" y="468892"/>
                    <a:pt x="534738" y="468892"/>
                  </a:cubicBezTo>
                  <a:cubicBezTo>
                    <a:pt x="425563" y="468892"/>
                    <a:pt x="316665" y="468892"/>
                    <a:pt x="207490" y="468892"/>
                  </a:cubicBezTo>
                  <a:cubicBezTo>
                    <a:pt x="196544" y="468892"/>
                    <a:pt x="191058" y="474381"/>
                    <a:pt x="191058" y="485359"/>
                  </a:cubicBezTo>
                  <a:cubicBezTo>
                    <a:pt x="191058" y="526387"/>
                    <a:pt x="191058" y="567415"/>
                    <a:pt x="191058" y="608722"/>
                  </a:cubicBezTo>
                  <a:cubicBezTo>
                    <a:pt x="191058" y="623793"/>
                    <a:pt x="191336" y="624072"/>
                    <a:pt x="206654" y="624072"/>
                  </a:cubicBezTo>
                  <a:cubicBezTo>
                    <a:pt x="346744" y="624072"/>
                    <a:pt x="486835" y="624072"/>
                    <a:pt x="626925" y="624072"/>
                  </a:cubicBezTo>
                  <a:cubicBezTo>
                    <a:pt x="630267" y="624072"/>
                    <a:pt x="633609" y="624072"/>
                    <a:pt x="636951" y="624072"/>
                  </a:cubicBezTo>
                  <a:cubicBezTo>
                    <a:pt x="646699" y="623235"/>
                    <a:pt x="650877" y="627142"/>
                    <a:pt x="650598" y="637469"/>
                  </a:cubicBezTo>
                  <a:cubicBezTo>
                    <a:pt x="650041" y="661472"/>
                    <a:pt x="650598" y="685475"/>
                    <a:pt x="650598" y="709757"/>
                  </a:cubicBezTo>
                  <a:cubicBezTo>
                    <a:pt x="650598" y="730410"/>
                    <a:pt x="650598" y="751343"/>
                    <a:pt x="650598" y="771996"/>
                  </a:cubicBezTo>
                  <a:cubicBezTo>
                    <a:pt x="650598" y="784648"/>
                    <a:pt x="644387" y="790975"/>
                    <a:pt x="631938" y="790975"/>
                  </a:cubicBezTo>
                  <a:cubicBezTo>
                    <a:pt x="526661" y="790975"/>
                    <a:pt x="421106" y="790975"/>
                    <a:pt x="315830" y="790975"/>
                  </a:cubicBezTo>
                  <a:cubicBezTo>
                    <a:pt x="216123" y="790975"/>
                    <a:pt x="116138" y="790975"/>
                    <a:pt x="16432" y="790975"/>
                  </a:cubicBezTo>
                  <a:cubicBezTo>
                    <a:pt x="557" y="790975"/>
                    <a:pt x="278" y="790975"/>
                    <a:pt x="278" y="774788"/>
                  </a:cubicBezTo>
                  <a:cubicBezTo>
                    <a:pt x="278" y="648075"/>
                    <a:pt x="278" y="521642"/>
                    <a:pt x="278" y="394930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E03FD5C8-341E-5DF5-B1B8-CBDFB738960A}"/>
                </a:ext>
              </a:extLst>
            </p:cNvPr>
            <p:cNvSpPr/>
            <p:nvPr/>
          </p:nvSpPr>
          <p:spPr>
            <a:xfrm>
              <a:off x="13067963" y="-1833255"/>
              <a:ext cx="707945" cy="791715"/>
            </a:xfrm>
            <a:custGeom>
              <a:avLst/>
              <a:gdLst>
                <a:gd name="connsiteX0" fmla="*/ 0 w 707945"/>
                <a:gd name="connsiteY0" fmla="*/ 395391 h 791715"/>
                <a:gd name="connsiteX1" fmla="*/ 0 w 707945"/>
                <a:gd name="connsiteY1" fmla="*/ 16928 h 791715"/>
                <a:gd name="connsiteX2" fmla="*/ 16432 w 707945"/>
                <a:gd name="connsiteY2" fmla="*/ 182 h 791715"/>
                <a:gd name="connsiteX3" fmla="*/ 375709 w 707945"/>
                <a:gd name="connsiteY3" fmla="*/ 461 h 791715"/>
                <a:gd name="connsiteX4" fmla="*/ 555905 w 707945"/>
                <a:gd name="connsiteY4" fmla="*/ 35907 h 791715"/>
                <a:gd name="connsiteX5" fmla="*/ 701287 w 707945"/>
                <a:gd name="connsiteY5" fmla="*/ 223464 h 791715"/>
                <a:gd name="connsiteX6" fmla="*/ 700173 w 707945"/>
                <a:gd name="connsiteY6" fmla="*/ 368876 h 791715"/>
                <a:gd name="connsiteX7" fmla="*/ 532788 w 707945"/>
                <a:gd name="connsiteY7" fmla="*/ 558386 h 791715"/>
                <a:gd name="connsiteX8" fmla="*/ 398268 w 707945"/>
                <a:gd name="connsiteY8" fmla="*/ 582948 h 791715"/>
                <a:gd name="connsiteX9" fmla="*/ 205261 w 707945"/>
                <a:gd name="connsiteY9" fmla="*/ 584622 h 791715"/>
                <a:gd name="connsiteX10" fmla="*/ 189108 w 707945"/>
                <a:gd name="connsiteY10" fmla="*/ 600252 h 791715"/>
                <a:gd name="connsiteX11" fmla="*/ 189108 w 707945"/>
                <a:gd name="connsiteY11" fmla="*/ 776923 h 791715"/>
                <a:gd name="connsiteX12" fmla="*/ 174347 w 707945"/>
                <a:gd name="connsiteY12" fmla="*/ 791716 h 791715"/>
                <a:gd name="connsiteX13" fmla="*/ 14761 w 707945"/>
                <a:gd name="connsiteY13" fmla="*/ 791716 h 791715"/>
                <a:gd name="connsiteX14" fmla="*/ 0 w 707945"/>
                <a:gd name="connsiteY14" fmla="*/ 776644 h 791715"/>
                <a:gd name="connsiteX15" fmla="*/ 0 w 707945"/>
                <a:gd name="connsiteY15" fmla="*/ 395949 h 791715"/>
                <a:gd name="connsiteX16" fmla="*/ 189386 w 707945"/>
                <a:gd name="connsiteY16" fmla="*/ 291007 h 791715"/>
                <a:gd name="connsiteX17" fmla="*/ 189386 w 707945"/>
                <a:gd name="connsiteY17" fmla="*/ 400973 h 791715"/>
                <a:gd name="connsiteX18" fmla="*/ 203869 w 707945"/>
                <a:gd name="connsiteY18" fmla="*/ 415486 h 791715"/>
                <a:gd name="connsiteX19" fmla="*/ 367911 w 707945"/>
                <a:gd name="connsiteY19" fmla="*/ 415486 h 791715"/>
                <a:gd name="connsiteX20" fmla="*/ 421942 w 707945"/>
                <a:gd name="connsiteY20" fmla="*/ 410741 h 791715"/>
                <a:gd name="connsiteX21" fmla="*/ 516078 w 707945"/>
                <a:gd name="connsiteY21" fmla="*/ 322545 h 791715"/>
                <a:gd name="connsiteX22" fmla="*/ 516914 w 707945"/>
                <a:gd name="connsiteY22" fmla="*/ 270632 h 791715"/>
                <a:gd name="connsiteX23" fmla="*/ 442273 w 707945"/>
                <a:gd name="connsiteY23" fmla="*/ 177691 h 791715"/>
                <a:gd name="connsiteX24" fmla="*/ 369025 w 707945"/>
                <a:gd name="connsiteY24" fmla="*/ 167923 h 791715"/>
                <a:gd name="connsiteX25" fmla="*/ 202755 w 707945"/>
                <a:gd name="connsiteY25" fmla="*/ 167364 h 791715"/>
                <a:gd name="connsiteX26" fmla="*/ 189386 w 707945"/>
                <a:gd name="connsiteY26" fmla="*/ 180482 h 791715"/>
                <a:gd name="connsiteX27" fmla="*/ 189386 w 707945"/>
                <a:gd name="connsiteY27" fmla="*/ 291565 h 791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07945" h="791715">
                  <a:moveTo>
                    <a:pt x="0" y="395391"/>
                  </a:moveTo>
                  <a:cubicBezTo>
                    <a:pt x="0" y="269237"/>
                    <a:pt x="0" y="143083"/>
                    <a:pt x="0" y="16928"/>
                  </a:cubicBezTo>
                  <a:cubicBezTo>
                    <a:pt x="0" y="182"/>
                    <a:pt x="0" y="182"/>
                    <a:pt x="16432" y="182"/>
                  </a:cubicBezTo>
                  <a:cubicBezTo>
                    <a:pt x="136191" y="182"/>
                    <a:pt x="255950" y="-376"/>
                    <a:pt x="375709" y="461"/>
                  </a:cubicBezTo>
                  <a:cubicBezTo>
                    <a:pt x="437817" y="1020"/>
                    <a:pt x="498810" y="9672"/>
                    <a:pt x="555905" y="35907"/>
                  </a:cubicBezTo>
                  <a:cubicBezTo>
                    <a:pt x="637230" y="73028"/>
                    <a:pt x="684855" y="136105"/>
                    <a:pt x="701287" y="223464"/>
                  </a:cubicBezTo>
                  <a:cubicBezTo>
                    <a:pt x="710478" y="272028"/>
                    <a:pt x="710199" y="320591"/>
                    <a:pt x="700173" y="368876"/>
                  </a:cubicBezTo>
                  <a:cubicBezTo>
                    <a:pt x="680399" y="463492"/>
                    <a:pt x="622747" y="525452"/>
                    <a:pt x="532788" y="558386"/>
                  </a:cubicBezTo>
                  <a:cubicBezTo>
                    <a:pt x="489341" y="574295"/>
                    <a:pt x="444223" y="580994"/>
                    <a:pt x="398268" y="582948"/>
                  </a:cubicBezTo>
                  <a:cubicBezTo>
                    <a:pt x="333933" y="586018"/>
                    <a:pt x="269597" y="583506"/>
                    <a:pt x="205261" y="584622"/>
                  </a:cubicBezTo>
                  <a:cubicBezTo>
                    <a:pt x="189108" y="584622"/>
                    <a:pt x="189108" y="584622"/>
                    <a:pt x="189108" y="600252"/>
                  </a:cubicBezTo>
                  <a:cubicBezTo>
                    <a:pt x="189108" y="659142"/>
                    <a:pt x="189108" y="718033"/>
                    <a:pt x="189108" y="776923"/>
                  </a:cubicBezTo>
                  <a:cubicBezTo>
                    <a:pt x="189108" y="791716"/>
                    <a:pt x="189108" y="791716"/>
                    <a:pt x="174347" y="791716"/>
                  </a:cubicBezTo>
                  <a:cubicBezTo>
                    <a:pt x="121151" y="791716"/>
                    <a:pt x="67956" y="791716"/>
                    <a:pt x="14761" y="791716"/>
                  </a:cubicBezTo>
                  <a:cubicBezTo>
                    <a:pt x="278" y="791716"/>
                    <a:pt x="0" y="791716"/>
                    <a:pt x="0" y="776644"/>
                  </a:cubicBezTo>
                  <a:cubicBezTo>
                    <a:pt x="0" y="649653"/>
                    <a:pt x="0" y="522661"/>
                    <a:pt x="0" y="395949"/>
                  </a:cubicBezTo>
                  <a:close/>
                  <a:moveTo>
                    <a:pt x="189386" y="291007"/>
                  </a:moveTo>
                  <a:cubicBezTo>
                    <a:pt x="189386" y="327569"/>
                    <a:pt x="189665" y="364131"/>
                    <a:pt x="189386" y="400973"/>
                  </a:cubicBezTo>
                  <a:cubicBezTo>
                    <a:pt x="189386" y="412137"/>
                    <a:pt x="192729" y="415486"/>
                    <a:pt x="203869" y="415486"/>
                  </a:cubicBezTo>
                  <a:cubicBezTo>
                    <a:pt x="258457" y="414928"/>
                    <a:pt x="313323" y="415207"/>
                    <a:pt x="367911" y="415486"/>
                  </a:cubicBezTo>
                  <a:cubicBezTo>
                    <a:pt x="386014" y="415486"/>
                    <a:pt x="404117" y="413812"/>
                    <a:pt x="421942" y="410741"/>
                  </a:cubicBezTo>
                  <a:cubicBezTo>
                    <a:pt x="475137" y="401531"/>
                    <a:pt x="506330" y="372504"/>
                    <a:pt x="516078" y="322545"/>
                  </a:cubicBezTo>
                  <a:cubicBezTo>
                    <a:pt x="519420" y="305520"/>
                    <a:pt x="518306" y="287937"/>
                    <a:pt x="516914" y="270632"/>
                  </a:cubicBezTo>
                  <a:cubicBezTo>
                    <a:pt x="513572" y="224301"/>
                    <a:pt x="486556" y="191367"/>
                    <a:pt x="442273" y="177691"/>
                  </a:cubicBezTo>
                  <a:cubicBezTo>
                    <a:pt x="418321" y="170155"/>
                    <a:pt x="393534" y="168202"/>
                    <a:pt x="369025" y="167923"/>
                  </a:cubicBezTo>
                  <a:cubicBezTo>
                    <a:pt x="313602" y="167085"/>
                    <a:pt x="258178" y="167923"/>
                    <a:pt x="202755" y="167364"/>
                  </a:cubicBezTo>
                  <a:cubicBezTo>
                    <a:pt x="192729" y="167364"/>
                    <a:pt x="189386" y="170155"/>
                    <a:pt x="189386" y="180482"/>
                  </a:cubicBezTo>
                  <a:cubicBezTo>
                    <a:pt x="189943" y="217324"/>
                    <a:pt x="189386" y="254444"/>
                    <a:pt x="189386" y="291565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80E3DF1B-D104-A300-349F-F501ACE5710F}"/>
                </a:ext>
              </a:extLst>
            </p:cNvPr>
            <p:cNvSpPr/>
            <p:nvPr/>
          </p:nvSpPr>
          <p:spPr>
            <a:xfrm>
              <a:off x="10558314" y="-1833653"/>
              <a:ext cx="707402" cy="791555"/>
            </a:xfrm>
            <a:custGeom>
              <a:avLst/>
              <a:gdLst>
                <a:gd name="connsiteX0" fmla="*/ 0 w 707402"/>
                <a:gd name="connsiteY0" fmla="*/ 395789 h 791555"/>
                <a:gd name="connsiteX1" fmla="*/ 0 w 707402"/>
                <a:gd name="connsiteY1" fmla="*/ 17048 h 791555"/>
                <a:gd name="connsiteX2" fmla="*/ 16432 w 707402"/>
                <a:gd name="connsiteY2" fmla="*/ 301 h 791555"/>
                <a:gd name="connsiteX3" fmla="*/ 375709 w 707402"/>
                <a:gd name="connsiteY3" fmla="*/ 581 h 791555"/>
                <a:gd name="connsiteX4" fmla="*/ 565931 w 707402"/>
                <a:gd name="connsiteY4" fmla="*/ 40771 h 791555"/>
                <a:gd name="connsiteX5" fmla="*/ 701844 w 707402"/>
                <a:gd name="connsiteY5" fmla="*/ 229165 h 791555"/>
                <a:gd name="connsiteX6" fmla="*/ 695160 w 707402"/>
                <a:gd name="connsiteY6" fmla="*/ 387416 h 791555"/>
                <a:gd name="connsiteX7" fmla="*/ 540308 w 707402"/>
                <a:gd name="connsiteY7" fmla="*/ 555156 h 791555"/>
                <a:gd name="connsiteX8" fmla="*/ 398547 w 707402"/>
                <a:gd name="connsiteY8" fmla="*/ 582788 h 791555"/>
                <a:gd name="connsiteX9" fmla="*/ 203312 w 707402"/>
                <a:gd name="connsiteY9" fmla="*/ 584183 h 791555"/>
                <a:gd name="connsiteX10" fmla="*/ 189386 w 707402"/>
                <a:gd name="connsiteY10" fmla="*/ 598138 h 791555"/>
                <a:gd name="connsiteX11" fmla="*/ 189386 w 707402"/>
                <a:gd name="connsiteY11" fmla="*/ 775926 h 791555"/>
                <a:gd name="connsiteX12" fmla="*/ 174347 w 707402"/>
                <a:gd name="connsiteY12" fmla="*/ 791556 h 791555"/>
                <a:gd name="connsiteX13" fmla="*/ 14483 w 707402"/>
                <a:gd name="connsiteY13" fmla="*/ 791556 h 791555"/>
                <a:gd name="connsiteX14" fmla="*/ 0 w 707402"/>
                <a:gd name="connsiteY14" fmla="*/ 776484 h 791555"/>
                <a:gd name="connsiteX15" fmla="*/ 0 w 707402"/>
                <a:gd name="connsiteY15" fmla="*/ 395510 h 791555"/>
                <a:gd name="connsiteX16" fmla="*/ 189665 w 707402"/>
                <a:gd name="connsiteY16" fmla="*/ 291126 h 791555"/>
                <a:gd name="connsiteX17" fmla="*/ 189665 w 707402"/>
                <a:gd name="connsiteY17" fmla="*/ 401092 h 791555"/>
                <a:gd name="connsiteX18" fmla="*/ 203869 w 707402"/>
                <a:gd name="connsiteY18" fmla="*/ 415605 h 791555"/>
                <a:gd name="connsiteX19" fmla="*/ 369025 w 707402"/>
                <a:gd name="connsiteY19" fmla="*/ 415605 h 791555"/>
                <a:gd name="connsiteX20" fmla="*/ 421942 w 707402"/>
                <a:gd name="connsiteY20" fmla="*/ 410582 h 791555"/>
                <a:gd name="connsiteX21" fmla="*/ 509672 w 707402"/>
                <a:gd name="connsiteY21" fmla="*/ 344155 h 791555"/>
                <a:gd name="connsiteX22" fmla="*/ 517192 w 707402"/>
                <a:gd name="connsiteY22" fmla="*/ 277450 h 791555"/>
                <a:gd name="connsiteX23" fmla="*/ 433361 w 707402"/>
                <a:gd name="connsiteY23" fmla="*/ 175298 h 791555"/>
                <a:gd name="connsiteX24" fmla="*/ 369861 w 707402"/>
                <a:gd name="connsiteY24" fmla="*/ 167763 h 791555"/>
                <a:gd name="connsiteX25" fmla="*/ 202476 w 707402"/>
                <a:gd name="connsiteY25" fmla="*/ 167205 h 791555"/>
                <a:gd name="connsiteX26" fmla="*/ 189943 w 707402"/>
                <a:gd name="connsiteY26" fmla="*/ 180043 h 791555"/>
                <a:gd name="connsiteX27" fmla="*/ 189943 w 707402"/>
                <a:gd name="connsiteY27" fmla="*/ 291126 h 79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07402" h="791555">
                  <a:moveTo>
                    <a:pt x="0" y="395789"/>
                  </a:moveTo>
                  <a:cubicBezTo>
                    <a:pt x="0" y="269635"/>
                    <a:pt x="0" y="143481"/>
                    <a:pt x="0" y="17048"/>
                  </a:cubicBezTo>
                  <a:cubicBezTo>
                    <a:pt x="0" y="301"/>
                    <a:pt x="0" y="301"/>
                    <a:pt x="16432" y="301"/>
                  </a:cubicBezTo>
                  <a:cubicBezTo>
                    <a:pt x="136191" y="301"/>
                    <a:pt x="255950" y="-536"/>
                    <a:pt x="375709" y="581"/>
                  </a:cubicBezTo>
                  <a:cubicBezTo>
                    <a:pt x="441438" y="1139"/>
                    <a:pt x="506052" y="10628"/>
                    <a:pt x="565931" y="40771"/>
                  </a:cubicBezTo>
                  <a:cubicBezTo>
                    <a:pt x="643914" y="80125"/>
                    <a:pt x="687640" y="144318"/>
                    <a:pt x="701844" y="229165"/>
                  </a:cubicBezTo>
                  <a:cubicBezTo>
                    <a:pt x="710478" y="282195"/>
                    <a:pt x="709642" y="335503"/>
                    <a:pt x="695160" y="387416"/>
                  </a:cubicBezTo>
                  <a:cubicBezTo>
                    <a:pt x="672322" y="469751"/>
                    <a:pt x="618848" y="524455"/>
                    <a:pt x="540308" y="555156"/>
                  </a:cubicBezTo>
                  <a:cubicBezTo>
                    <a:pt x="494633" y="573019"/>
                    <a:pt x="447286" y="580555"/>
                    <a:pt x="398547" y="582788"/>
                  </a:cubicBezTo>
                  <a:cubicBezTo>
                    <a:pt x="333376" y="585858"/>
                    <a:pt x="268483" y="583625"/>
                    <a:pt x="203312" y="584183"/>
                  </a:cubicBezTo>
                  <a:cubicBezTo>
                    <a:pt x="192729" y="584183"/>
                    <a:pt x="189108" y="587253"/>
                    <a:pt x="189386" y="598138"/>
                  </a:cubicBezTo>
                  <a:cubicBezTo>
                    <a:pt x="189943" y="657308"/>
                    <a:pt x="189386" y="716477"/>
                    <a:pt x="189386" y="775926"/>
                  </a:cubicBezTo>
                  <a:cubicBezTo>
                    <a:pt x="189386" y="791556"/>
                    <a:pt x="189386" y="791556"/>
                    <a:pt x="174347" y="791556"/>
                  </a:cubicBezTo>
                  <a:cubicBezTo>
                    <a:pt x="121152" y="791556"/>
                    <a:pt x="67956" y="791556"/>
                    <a:pt x="14483" y="791556"/>
                  </a:cubicBezTo>
                  <a:cubicBezTo>
                    <a:pt x="0" y="791556"/>
                    <a:pt x="0" y="791556"/>
                    <a:pt x="0" y="776484"/>
                  </a:cubicBezTo>
                  <a:cubicBezTo>
                    <a:pt x="0" y="649493"/>
                    <a:pt x="0" y="522501"/>
                    <a:pt x="0" y="395510"/>
                  </a:cubicBezTo>
                  <a:close/>
                  <a:moveTo>
                    <a:pt x="189665" y="291126"/>
                  </a:moveTo>
                  <a:cubicBezTo>
                    <a:pt x="189665" y="327688"/>
                    <a:pt x="189943" y="364251"/>
                    <a:pt x="189665" y="401092"/>
                  </a:cubicBezTo>
                  <a:cubicBezTo>
                    <a:pt x="189665" y="412256"/>
                    <a:pt x="192450" y="415884"/>
                    <a:pt x="203869" y="415605"/>
                  </a:cubicBezTo>
                  <a:cubicBezTo>
                    <a:pt x="259014" y="415047"/>
                    <a:pt x="313880" y="415326"/>
                    <a:pt x="369025" y="415605"/>
                  </a:cubicBezTo>
                  <a:cubicBezTo>
                    <a:pt x="386850" y="415605"/>
                    <a:pt x="404396" y="414210"/>
                    <a:pt x="421942" y="410582"/>
                  </a:cubicBezTo>
                  <a:cubicBezTo>
                    <a:pt x="461769" y="402488"/>
                    <a:pt x="494076" y="384346"/>
                    <a:pt x="509672" y="344155"/>
                  </a:cubicBezTo>
                  <a:cubicBezTo>
                    <a:pt x="518028" y="322664"/>
                    <a:pt x="518585" y="300057"/>
                    <a:pt x="517192" y="277450"/>
                  </a:cubicBezTo>
                  <a:cubicBezTo>
                    <a:pt x="514129" y="223025"/>
                    <a:pt x="485721" y="188974"/>
                    <a:pt x="433361" y="175298"/>
                  </a:cubicBezTo>
                  <a:cubicBezTo>
                    <a:pt x="412473" y="169716"/>
                    <a:pt x="391027" y="168042"/>
                    <a:pt x="369861" y="167763"/>
                  </a:cubicBezTo>
                  <a:cubicBezTo>
                    <a:pt x="314159" y="166925"/>
                    <a:pt x="258178" y="167763"/>
                    <a:pt x="202476" y="167205"/>
                  </a:cubicBezTo>
                  <a:cubicBezTo>
                    <a:pt x="192450" y="167205"/>
                    <a:pt x="189943" y="170554"/>
                    <a:pt x="189943" y="180043"/>
                  </a:cubicBezTo>
                  <a:cubicBezTo>
                    <a:pt x="190501" y="217164"/>
                    <a:pt x="189943" y="254005"/>
                    <a:pt x="189943" y="291126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57DD1278-47CA-B3B1-F945-684EC18807F6}"/>
                </a:ext>
              </a:extLst>
            </p:cNvPr>
            <p:cNvSpPr/>
            <p:nvPr/>
          </p:nvSpPr>
          <p:spPr>
            <a:xfrm>
              <a:off x="11364160" y="-1833352"/>
              <a:ext cx="710541" cy="809232"/>
            </a:xfrm>
            <a:custGeom>
              <a:avLst/>
              <a:gdLst>
                <a:gd name="connsiteX0" fmla="*/ 519302 w 710541"/>
                <a:gd name="connsiteY0" fmla="*/ 254541 h 809232"/>
                <a:gd name="connsiteX1" fmla="*/ 519302 w 710541"/>
                <a:gd name="connsiteY1" fmla="*/ 17025 h 809232"/>
                <a:gd name="connsiteX2" fmla="*/ 536013 w 710541"/>
                <a:gd name="connsiteY2" fmla="*/ 0 h 809232"/>
                <a:gd name="connsiteX3" fmla="*/ 694763 w 710541"/>
                <a:gd name="connsiteY3" fmla="*/ 0 h 809232"/>
                <a:gd name="connsiteX4" fmla="*/ 710360 w 710541"/>
                <a:gd name="connsiteY4" fmla="*/ 15909 h 809232"/>
                <a:gd name="connsiteX5" fmla="*/ 710081 w 710541"/>
                <a:gd name="connsiteY5" fmla="*/ 460239 h 809232"/>
                <a:gd name="connsiteX6" fmla="*/ 686965 w 710541"/>
                <a:gd name="connsiteY6" fmla="*/ 624351 h 809232"/>
                <a:gd name="connsiteX7" fmla="*/ 506491 w 710541"/>
                <a:gd name="connsiteY7" fmla="*/ 791254 h 809232"/>
                <a:gd name="connsiteX8" fmla="*/ 307635 w 710541"/>
                <a:gd name="connsiteY8" fmla="*/ 807442 h 809232"/>
                <a:gd name="connsiteX9" fmla="*/ 199573 w 710541"/>
                <a:gd name="connsiteY9" fmla="*/ 790417 h 809232"/>
                <a:gd name="connsiteX10" fmla="*/ 15757 w 710541"/>
                <a:gd name="connsiteY10" fmla="*/ 596441 h 809232"/>
                <a:gd name="connsiteX11" fmla="*/ 1831 w 710541"/>
                <a:gd name="connsiteY11" fmla="*/ 484521 h 809232"/>
                <a:gd name="connsiteX12" fmla="*/ 160 w 710541"/>
                <a:gd name="connsiteY12" fmla="*/ 19258 h 809232"/>
                <a:gd name="connsiteX13" fmla="*/ 19099 w 710541"/>
                <a:gd name="connsiteY13" fmla="*/ 279 h 809232"/>
                <a:gd name="connsiteX14" fmla="*/ 174507 w 710541"/>
                <a:gd name="connsiteY14" fmla="*/ 279 h 809232"/>
                <a:gd name="connsiteX15" fmla="*/ 189268 w 710541"/>
                <a:gd name="connsiteY15" fmla="*/ 15351 h 809232"/>
                <a:gd name="connsiteX16" fmla="*/ 189268 w 710541"/>
                <a:gd name="connsiteY16" fmla="*/ 467217 h 809232"/>
                <a:gd name="connsiteX17" fmla="*/ 197624 w 710541"/>
                <a:gd name="connsiteY17" fmla="*/ 540900 h 809232"/>
                <a:gd name="connsiteX18" fmla="*/ 302065 w 710541"/>
                <a:gd name="connsiteY18" fmla="*/ 640818 h 809232"/>
                <a:gd name="connsiteX19" fmla="*/ 417368 w 710541"/>
                <a:gd name="connsiteY19" fmla="*/ 638586 h 809232"/>
                <a:gd name="connsiteX20" fmla="*/ 514289 w 710541"/>
                <a:gd name="connsiteY20" fmla="*/ 530015 h 809232"/>
                <a:gd name="connsiteX21" fmla="*/ 519302 w 710541"/>
                <a:gd name="connsiteY21" fmla="*/ 467217 h 809232"/>
                <a:gd name="connsiteX22" fmla="*/ 519302 w 710541"/>
                <a:gd name="connsiteY22" fmla="*/ 255099 h 80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10541" h="809232">
                  <a:moveTo>
                    <a:pt x="519302" y="254541"/>
                  </a:moveTo>
                  <a:cubicBezTo>
                    <a:pt x="519302" y="175276"/>
                    <a:pt x="519302" y="96011"/>
                    <a:pt x="519302" y="17025"/>
                  </a:cubicBezTo>
                  <a:cubicBezTo>
                    <a:pt x="519302" y="558"/>
                    <a:pt x="519859" y="0"/>
                    <a:pt x="536013" y="0"/>
                  </a:cubicBezTo>
                  <a:cubicBezTo>
                    <a:pt x="588930" y="0"/>
                    <a:pt x="641846" y="0"/>
                    <a:pt x="694763" y="0"/>
                  </a:cubicBezTo>
                  <a:cubicBezTo>
                    <a:pt x="709524" y="0"/>
                    <a:pt x="710360" y="837"/>
                    <a:pt x="710360" y="15909"/>
                  </a:cubicBezTo>
                  <a:cubicBezTo>
                    <a:pt x="710360" y="164112"/>
                    <a:pt x="710917" y="312036"/>
                    <a:pt x="710081" y="460239"/>
                  </a:cubicBezTo>
                  <a:cubicBezTo>
                    <a:pt x="709803" y="515781"/>
                    <a:pt x="704790" y="571043"/>
                    <a:pt x="686965" y="624351"/>
                  </a:cubicBezTo>
                  <a:cubicBezTo>
                    <a:pt x="657443" y="713385"/>
                    <a:pt x="595892" y="767531"/>
                    <a:pt x="506491" y="791254"/>
                  </a:cubicBezTo>
                  <a:cubicBezTo>
                    <a:pt x="441320" y="808559"/>
                    <a:pt x="374756" y="811908"/>
                    <a:pt x="307635" y="807442"/>
                  </a:cubicBezTo>
                  <a:cubicBezTo>
                    <a:pt x="270872" y="805210"/>
                    <a:pt x="234944" y="800186"/>
                    <a:pt x="199573" y="790417"/>
                  </a:cubicBezTo>
                  <a:cubicBezTo>
                    <a:pt x="99867" y="762507"/>
                    <a:pt x="39709" y="696639"/>
                    <a:pt x="15757" y="596441"/>
                  </a:cubicBezTo>
                  <a:cubicBezTo>
                    <a:pt x="7123" y="559600"/>
                    <a:pt x="2946" y="522200"/>
                    <a:pt x="1831" y="484521"/>
                  </a:cubicBezTo>
                  <a:cubicBezTo>
                    <a:pt x="-1789" y="329340"/>
                    <a:pt x="1275" y="174439"/>
                    <a:pt x="160" y="19258"/>
                  </a:cubicBezTo>
                  <a:cubicBezTo>
                    <a:pt x="160" y="279"/>
                    <a:pt x="160" y="279"/>
                    <a:pt x="19099" y="279"/>
                  </a:cubicBezTo>
                  <a:cubicBezTo>
                    <a:pt x="70902" y="279"/>
                    <a:pt x="122705" y="279"/>
                    <a:pt x="174507" y="279"/>
                  </a:cubicBezTo>
                  <a:cubicBezTo>
                    <a:pt x="188990" y="279"/>
                    <a:pt x="189268" y="837"/>
                    <a:pt x="189268" y="15351"/>
                  </a:cubicBezTo>
                  <a:cubicBezTo>
                    <a:pt x="189268" y="166066"/>
                    <a:pt x="189268" y="316781"/>
                    <a:pt x="189268" y="467217"/>
                  </a:cubicBezTo>
                  <a:cubicBezTo>
                    <a:pt x="189268" y="492057"/>
                    <a:pt x="192054" y="516618"/>
                    <a:pt x="197624" y="540900"/>
                  </a:cubicBezTo>
                  <a:cubicBezTo>
                    <a:pt x="210714" y="596999"/>
                    <a:pt x="245527" y="630771"/>
                    <a:pt x="302065" y="640818"/>
                  </a:cubicBezTo>
                  <a:cubicBezTo>
                    <a:pt x="340499" y="647517"/>
                    <a:pt x="379212" y="647238"/>
                    <a:pt x="417368" y="638586"/>
                  </a:cubicBezTo>
                  <a:cubicBezTo>
                    <a:pt x="475019" y="625468"/>
                    <a:pt x="503706" y="585835"/>
                    <a:pt x="514289" y="530015"/>
                  </a:cubicBezTo>
                  <a:cubicBezTo>
                    <a:pt x="518188" y="509082"/>
                    <a:pt x="519302" y="488150"/>
                    <a:pt x="519302" y="467217"/>
                  </a:cubicBezTo>
                  <a:cubicBezTo>
                    <a:pt x="519302" y="396604"/>
                    <a:pt x="519302" y="325712"/>
                    <a:pt x="519302" y="255099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E8DD39DA-DA9E-290F-F6AA-AF95C7846DDD}"/>
                </a:ext>
              </a:extLst>
            </p:cNvPr>
            <p:cNvSpPr/>
            <p:nvPr/>
          </p:nvSpPr>
          <p:spPr>
            <a:xfrm>
              <a:off x="17092288" y="-795001"/>
              <a:ext cx="358827" cy="368797"/>
            </a:xfrm>
            <a:custGeom>
              <a:avLst/>
              <a:gdLst>
                <a:gd name="connsiteX0" fmla="*/ 358301 w 358827"/>
                <a:gd name="connsiteY0" fmla="*/ 184675 h 368797"/>
                <a:gd name="connsiteX1" fmla="*/ 327665 w 358827"/>
                <a:gd name="connsiteY1" fmla="*/ 298549 h 368797"/>
                <a:gd name="connsiteX2" fmla="*/ 201222 w 358827"/>
                <a:gd name="connsiteY2" fmla="*/ 367766 h 368797"/>
                <a:gd name="connsiteX3" fmla="*/ 110428 w 358827"/>
                <a:gd name="connsiteY3" fmla="*/ 358276 h 368797"/>
                <a:gd name="connsiteX4" fmla="*/ 12114 w 358827"/>
                <a:gd name="connsiteY4" fmla="*/ 257241 h 368797"/>
                <a:gd name="connsiteX5" fmla="*/ 15734 w 358827"/>
                <a:gd name="connsiteY5" fmla="*/ 104014 h 368797"/>
                <a:gd name="connsiteX6" fmla="*/ 161116 w 358827"/>
                <a:gd name="connsiteY6" fmla="*/ 1026 h 368797"/>
                <a:gd name="connsiteX7" fmla="*/ 277812 w 358827"/>
                <a:gd name="connsiteY7" fmla="*/ 24470 h 368797"/>
                <a:gd name="connsiteX8" fmla="*/ 358580 w 358827"/>
                <a:gd name="connsiteY8" fmla="*/ 164579 h 368797"/>
                <a:gd name="connsiteX9" fmla="*/ 358580 w 358827"/>
                <a:gd name="connsiteY9" fmla="*/ 184675 h 368797"/>
                <a:gd name="connsiteX10" fmla="*/ 313740 w 358827"/>
                <a:gd name="connsiteY10" fmla="*/ 184954 h 368797"/>
                <a:gd name="connsiteX11" fmla="*/ 310955 w 358827"/>
                <a:gd name="connsiteY11" fmla="*/ 147275 h 368797"/>
                <a:gd name="connsiteX12" fmla="*/ 220996 w 358827"/>
                <a:gd name="connsiteY12" fmla="*/ 47078 h 368797"/>
                <a:gd name="connsiteX13" fmla="*/ 156103 w 358827"/>
                <a:gd name="connsiteY13" fmla="*/ 44287 h 368797"/>
                <a:gd name="connsiteX14" fmla="*/ 61688 w 358827"/>
                <a:gd name="connsiteY14" fmla="*/ 113504 h 368797"/>
                <a:gd name="connsiteX15" fmla="*/ 60574 w 358827"/>
                <a:gd name="connsiteY15" fmla="*/ 253055 h 368797"/>
                <a:gd name="connsiteX16" fmla="*/ 140507 w 358827"/>
                <a:gd name="connsiteY16" fmla="*/ 321714 h 368797"/>
                <a:gd name="connsiteX17" fmla="*/ 227123 w 358827"/>
                <a:gd name="connsiteY17" fmla="*/ 320039 h 368797"/>
                <a:gd name="connsiteX18" fmla="*/ 297865 w 358827"/>
                <a:gd name="connsiteY18" fmla="*/ 261986 h 368797"/>
                <a:gd name="connsiteX19" fmla="*/ 314018 w 358827"/>
                <a:gd name="connsiteY19" fmla="*/ 184675 h 368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8827" h="368797">
                  <a:moveTo>
                    <a:pt x="358301" y="184675"/>
                  </a:moveTo>
                  <a:cubicBezTo>
                    <a:pt x="359136" y="225703"/>
                    <a:pt x="350781" y="264219"/>
                    <a:pt x="327665" y="298549"/>
                  </a:cubicBezTo>
                  <a:cubicBezTo>
                    <a:pt x="297586" y="343205"/>
                    <a:pt x="253303" y="363858"/>
                    <a:pt x="201222" y="367766"/>
                  </a:cubicBezTo>
                  <a:cubicBezTo>
                    <a:pt x="170586" y="370278"/>
                    <a:pt x="139949" y="368603"/>
                    <a:pt x="110428" y="358276"/>
                  </a:cubicBezTo>
                  <a:cubicBezTo>
                    <a:pt x="61132" y="340693"/>
                    <a:pt x="28268" y="306922"/>
                    <a:pt x="12114" y="257241"/>
                  </a:cubicBezTo>
                  <a:cubicBezTo>
                    <a:pt x="-4597" y="205887"/>
                    <a:pt x="-4597" y="154253"/>
                    <a:pt x="15734" y="104014"/>
                  </a:cubicBezTo>
                  <a:cubicBezTo>
                    <a:pt x="41914" y="38984"/>
                    <a:pt x="92881" y="6887"/>
                    <a:pt x="161116" y="1026"/>
                  </a:cubicBezTo>
                  <a:cubicBezTo>
                    <a:pt x="202057" y="-2603"/>
                    <a:pt x="241884" y="2979"/>
                    <a:pt x="277812" y="24470"/>
                  </a:cubicBezTo>
                  <a:cubicBezTo>
                    <a:pt x="330729" y="56009"/>
                    <a:pt x="353288" y="105410"/>
                    <a:pt x="358580" y="164579"/>
                  </a:cubicBezTo>
                  <a:cubicBezTo>
                    <a:pt x="359136" y="171278"/>
                    <a:pt x="358580" y="177976"/>
                    <a:pt x="358580" y="184675"/>
                  </a:cubicBezTo>
                  <a:close/>
                  <a:moveTo>
                    <a:pt x="313740" y="184954"/>
                  </a:moveTo>
                  <a:cubicBezTo>
                    <a:pt x="313740" y="172394"/>
                    <a:pt x="313461" y="159835"/>
                    <a:pt x="310955" y="147275"/>
                  </a:cubicBezTo>
                  <a:cubicBezTo>
                    <a:pt x="300928" y="95641"/>
                    <a:pt x="272799" y="61033"/>
                    <a:pt x="220996" y="47078"/>
                  </a:cubicBezTo>
                  <a:cubicBezTo>
                    <a:pt x="199551" y="41216"/>
                    <a:pt x="177548" y="41496"/>
                    <a:pt x="156103" y="44287"/>
                  </a:cubicBezTo>
                  <a:cubicBezTo>
                    <a:pt x="112377" y="49868"/>
                    <a:pt x="78956" y="71918"/>
                    <a:pt x="61688" y="113504"/>
                  </a:cubicBezTo>
                  <a:cubicBezTo>
                    <a:pt x="42471" y="159556"/>
                    <a:pt x="42471" y="206724"/>
                    <a:pt x="60574" y="253055"/>
                  </a:cubicBezTo>
                  <a:cubicBezTo>
                    <a:pt x="74778" y="289617"/>
                    <a:pt x="102073" y="312783"/>
                    <a:pt x="140507" y="321714"/>
                  </a:cubicBezTo>
                  <a:cubicBezTo>
                    <a:pt x="169471" y="328691"/>
                    <a:pt x="198437" y="328133"/>
                    <a:pt x="227123" y="320039"/>
                  </a:cubicBezTo>
                  <a:cubicBezTo>
                    <a:pt x="258874" y="311108"/>
                    <a:pt x="282825" y="291850"/>
                    <a:pt x="297865" y="261986"/>
                  </a:cubicBezTo>
                  <a:cubicBezTo>
                    <a:pt x="310119" y="237704"/>
                    <a:pt x="314575" y="211748"/>
                    <a:pt x="314018" y="184675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562AA002-2A3A-113C-1121-AFDD84B39D10}"/>
                </a:ext>
              </a:extLst>
            </p:cNvPr>
            <p:cNvSpPr/>
            <p:nvPr/>
          </p:nvSpPr>
          <p:spPr>
            <a:xfrm>
              <a:off x="16409061" y="-785323"/>
              <a:ext cx="309337" cy="349641"/>
            </a:xfrm>
            <a:custGeom>
              <a:avLst/>
              <a:gdLst>
                <a:gd name="connsiteX0" fmla="*/ 460 w 309337"/>
                <a:gd name="connsiteY0" fmla="*/ 172764 h 349641"/>
                <a:gd name="connsiteX1" fmla="*/ 460 w 309337"/>
                <a:gd name="connsiteY1" fmla="*/ 15072 h 349641"/>
                <a:gd name="connsiteX2" fmla="*/ 15221 w 309337"/>
                <a:gd name="connsiteY2" fmla="*/ 0 h 349641"/>
                <a:gd name="connsiteX3" fmla="*/ 139436 w 309337"/>
                <a:gd name="connsiteY3" fmla="*/ 279 h 349641"/>
                <a:gd name="connsiteX4" fmla="*/ 195695 w 309337"/>
                <a:gd name="connsiteY4" fmla="*/ 10885 h 349641"/>
                <a:gd name="connsiteX5" fmla="*/ 251675 w 309337"/>
                <a:gd name="connsiteY5" fmla="*/ 73404 h 349641"/>
                <a:gd name="connsiteX6" fmla="*/ 234408 w 309337"/>
                <a:gd name="connsiteY6" fmla="*/ 179184 h 349641"/>
                <a:gd name="connsiteX7" fmla="*/ 200151 w 309337"/>
                <a:gd name="connsiteY7" fmla="*/ 204861 h 349641"/>
                <a:gd name="connsiteX8" fmla="*/ 195416 w 309337"/>
                <a:gd name="connsiteY8" fmla="*/ 217420 h 349641"/>
                <a:gd name="connsiteX9" fmla="*/ 230508 w 309337"/>
                <a:gd name="connsiteY9" fmla="*/ 292778 h 349641"/>
                <a:gd name="connsiteX10" fmla="*/ 267828 w 309337"/>
                <a:gd name="connsiteY10" fmla="*/ 311478 h 349641"/>
                <a:gd name="connsiteX11" fmla="*/ 279805 w 309337"/>
                <a:gd name="connsiteY11" fmla="*/ 309245 h 349641"/>
                <a:gd name="connsiteX12" fmla="*/ 308769 w 309337"/>
                <a:gd name="connsiteY12" fmla="*/ 324596 h 349641"/>
                <a:gd name="connsiteX13" fmla="*/ 304871 w 309337"/>
                <a:gd name="connsiteY13" fmla="*/ 333806 h 349641"/>
                <a:gd name="connsiteX14" fmla="*/ 218254 w 309337"/>
                <a:gd name="connsiteY14" fmla="*/ 342179 h 349641"/>
                <a:gd name="connsiteX15" fmla="*/ 194859 w 309337"/>
                <a:gd name="connsiteY15" fmla="*/ 316502 h 349641"/>
                <a:gd name="connsiteX16" fmla="*/ 152526 w 309337"/>
                <a:gd name="connsiteY16" fmla="*/ 231097 h 349641"/>
                <a:gd name="connsiteX17" fmla="*/ 134423 w 309337"/>
                <a:gd name="connsiteY17" fmla="*/ 220212 h 349641"/>
                <a:gd name="connsiteX18" fmla="*/ 57832 w 309337"/>
                <a:gd name="connsiteY18" fmla="*/ 220212 h 349641"/>
                <a:gd name="connsiteX19" fmla="*/ 45021 w 309337"/>
                <a:gd name="connsiteY19" fmla="*/ 232771 h 349641"/>
                <a:gd name="connsiteX20" fmla="*/ 45300 w 309337"/>
                <a:gd name="connsiteY20" fmla="*/ 333806 h 349641"/>
                <a:gd name="connsiteX21" fmla="*/ 31931 w 309337"/>
                <a:gd name="connsiteY21" fmla="*/ 347203 h 349641"/>
                <a:gd name="connsiteX22" fmla="*/ 181 w 309337"/>
                <a:gd name="connsiteY22" fmla="*/ 315665 h 349641"/>
                <a:gd name="connsiteX23" fmla="*/ 181 w 309337"/>
                <a:gd name="connsiteY23" fmla="*/ 172485 h 349641"/>
                <a:gd name="connsiteX24" fmla="*/ 45300 w 309337"/>
                <a:gd name="connsiteY24" fmla="*/ 109408 h 349641"/>
                <a:gd name="connsiteX25" fmla="*/ 45300 w 309337"/>
                <a:gd name="connsiteY25" fmla="*/ 169415 h 349641"/>
                <a:gd name="connsiteX26" fmla="*/ 56161 w 309337"/>
                <a:gd name="connsiteY26" fmla="*/ 180579 h 349641"/>
                <a:gd name="connsiteX27" fmla="*/ 139436 w 309337"/>
                <a:gd name="connsiteY27" fmla="*/ 179742 h 349641"/>
                <a:gd name="connsiteX28" fmla="*/ 209063 w 309337"/>
                <a:gd name="connsiteY28" fmla="*/ 107454 h 349641"/>
                <a:gd name="connsiteX29" fmla="*/ 148348 w 309337"/>
                <a:gd name="connsiteY29" fmla="*/ 42703 h 349641"/>
                <a:gd name="connsiteX30" fmla="*/ 56440 w 309337"/>
                <a:gd name="connsiteY30" fmla="*/ 40749 h 349641"/>
                <a:gd name="connsiteX31" fmla="*/ 45300 w 309337"/>
                <a:gd name="connsiteY31" fmla="*/ 52750 h 349641"/>
                <a:gd name="connsiteX32" fmla="*/ 45300 w 309337"/>
                <a:gd name="connsiteY32" fmla="*/ 109408 h 34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09337" h="349641">
                  <a:moveTo>
                    <a:pt x="460" y="172764"/>
                  </a:moveTo>
                  <a:cubicBezTo>
                    <a:pt x="460" y="120293"/>
                    <a:pt x="460" y="67822"/>
                    <a:pt x="460" y="15072"/>
                  </a:cubicBezTo>
                  <a:cubicBezTo>
                    <a:pt x="460" y="558"/>
                    <a:pt x="738" y="0"/>
                    <a:pt x="15221" y="0"/>
                  </a:cubicBezTo>
                  <a:cubicBezTo>
                    <a:pt x="56719" y="0"/>
                    <a:pt x="97937" y="0"/>
                    <a:pt x="139436" y="279"/>
                  </a:cubicBezTo>
                  <a:cubicBezTo>
                    <a:pt x="158653" y="279"/>
                    <a:pt x="177592" y="3907"/>
                    <a:pt x="195695" y="10885"/>
                  </a:cubicBezTo>
                  <a:cubicBezTo>
                    <a:pt x="224660" y="22328"/>
                    <a:pt x="244713" y="42424"/>
                    <a:pt x="251675" y="73404"/>
                  </a:cubicBezTo>
                  <a:cubicBezTo>
                    <a:pt x="260309" y="110803"/>
                    <a:pt x="258359" y="146808"/>
                    <a:pt x="234408" y="179184"/>
                  </a:cubicBezTo>
                  <a:cubicBezTo>
                    <a:pt x="225495" y="191185"/>
                    <a:pt x="213798" y="199279"/>
                    <a:pt x="200151" y="204861"/>
                  </a:cubicBezTo>
                  <a:cubicBezTo>
                    <a:pt x="193745" y="207652"/>
                    <a:pt x="192074" y="210722"/>
                    <a:pt x="195416" y="217420"/>
                  </a:cubicBezTo>
                  <a:cubicBezTo>
                    <a:pt x="207392" y="242540"/>
                    <a:pt x="218533" y="267938"/>
                    <a:pt x="230508" y="292778"/>
                  </a:cubicBezTo>
                  <a:cubicBezTo>
                    <a:pt x="238307" y="308687"/>
                    <a:pt x="250004" y="314269"/>
                    <a:pt x="267828" y="311478"/>
                  </a:cubicBezTo>
                  <a:cubicBezTo>
                    <a:pt x="271728" y="310920"/>
                    <a:pt x="275905" y="310082"/>
                    <a:pt x="279805" y="309245"/>
                  </a:cubicBezTo>
                  <a:cubicBezTo>
                    <a:pt x="295679" y="304780"/>
                    <a:pt x="303478" y="309245"/>
                    <a:pt x="308769" y="324596"/>
                  </a:cubicBezTo>
                  <a:cubicBezTo>
                    <a:pt x="310440" y="329340"/>
                    <a:pt x="308213" y="331853"/>
                    <a:pt x="304871" y="333806"/>
                  </a:cubicBezTo>
                  <a:cubicBezTo>
                    <a:pt x="277298" y="351110"/>
                    <a:pt x="248333" y="354739"/>
                    <a:pt x="218254" y="342179"/>
                  </a:cubicBezTo>
                  <a:cubicBezTo>
                    <a:pt x="206835" y="337434"/>
                    <a:pt x="200151" y="327387"/>
                    <a:pt x="194859" y="316502"/>
                  </a:cubicBezTo>
                  <a:cubicBezTo>
                    <a:pt x="180655" y="288033"/>
                    <a:pt x="166173" y="259565"/>
                    <a:pt x="152526" y="231097"/>
                  </a:cubicBezTo>
                  <a:cubicBezTo>
                    <a:pt x="148626" y="222723"/>
                    <a:pt x="143335" y="219932"/>
                    <a:pt x="134423" y="220212"/>
                  </a:cubicBezTo>
                  <a:cubicBezTo>
                    <a:pt x="108800" y="220770"/>
                    <a:pt x="83455" y="220770"/>
                    <a:pt x="57832" y="220212"/>
                  </a:cubicBezTo>
                  <a:cubicBezTo>
                    <a:pt x="48363" y="220212"/>
                    <a:pt x="44742" y="223003"/>
                    <a:pt x="45021" y="232771"/>
                  </a:cubicBezTo>
                  <a:cubicBezTo>
                    <a:pt x="45578" y="266543"/>
                    <a:pt x="45021" y="300035"/>
                    <a:pt x="45300" y="333806"/>
                  </a:cubicBezTo>
                  <a:cubicBezTo>
                    <a:pt x="45300" y="343854"/>
                    <a:pt x="41958" y="347482"/>
                    <a:pt x="31931" y="347203"/>
                  </a:cubicBezTo>
                  <a:cubicBezTo>
                    <a:pt x="-5389" y="346087"/>
                    <a:pt x="460" y="352506"/>
                    <a:pt x="181" y="315665"/>
                  </a:cubicBezTo>
                  <a:cubicBezTo>
                    <a:pt x="-98" y="267938"/>
                    <a:pt x="181" y="220212"/>
                    <a:pt x="181" y="172485"/>
                  </a:cubicBezTo>
                  <a:close/>
                  <a:moveTo>
                    <a:pt x="45300" y="109408"/>
                  </a:moveTo>
                  <a:cubicBezTo>
                    <a:pt x="45300" y="129503"/>
                    <a:pt x="45300" y="149320"/>
                    <a:pt x="45300" y="169415"/>
                  </a:cubicBezTo>
                  <a:cubicBezTo>
                    <a:pt x="45300" y="177509"/>
                    <a:pt x="48085" y="180858"/>
                    <a:pt x="56161" y="180579"/>
                  </a:cubicBezTo>
                  <a:cubicBezTo>
                    <a:pt x="84012" y="180300"/>
                    <a:pt x="111585" y="181137"/>
                    <a:pt x="139436" y="179742"/>
                  </a:cubicBezTo>
                  <a:cubicBezTo>
                    <a:pt x="186504" y="177509"/>
                    <a:pt x="209063" y="153506"/>
                    <a:pt x="209063" y="107454"/>
                  </a:cubicBezTo>
                  <a:cubicBezTo>
                    <a:pt x="209063" y="68101"/>
                    <a:pt x="187896" y="46331"/>
                    <a:pt x="148348" y="42703"/>
                  </a:cubicBezTo>
                  <a:cubicBezTo>
                    <a:pt x="117712" y="39912"/>
                    <a:pt x="87076" y="41865"/>
                    <a:pt x="56440" y="40749"/>
                  </a:cubicBezTo>
                  <a:cubicBezTo>
                    <a:pt x="47249" y="40470"/>
                    <a:pt x="45021" y="44377"/>
                    <a:pt x="45300" y="52750"/>
                  </a:cubicBezTo>
                  <a:cubicBezTo>
                    <a:pt x="45578" y="71729"/>
                    <a:pt x="45300" y="90429"/>
                    <a:pt x="45300" y="109408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847B9D19-7F9F-F777-A75E-E47D0D617ECA}"/>
                </a:ext>
              </a:extLst>
            </p:cNvPr>
            <p:cNvSpPr/>
            <p:nvPr/>
          </p:nvSpPr>
          <p:spPr>
            <a:xfrm>
              <a:off x="17504619" y="-794730"/>
              <a:ext cx="282788" cy="368301"/>
            </a:xfrm>
            <a:custGeom>
              <a:avLst/>
              <a:gdLst>
                <a:gd name="connsiteX0" fmla="*/ 137863 w 282788"/>
                <a:gd name="connsiteY0" fmla="*/ 367774 h 368301"/>
                <a:gd name="connsiteX1" fmla="*/ 18382 w 282788"/>
                <a:gd name="connsiteY1" fmla="*/ 339864 h 368301"/>
                <a:gd name="connsiteX2" fmla="*/ 6406 w 282788"/>
                <a:gd name="connsiteY2" fmla="*/ 294649 h 368301"/>
                <a:gd name="connsiteX3" fmla="*/ 25902 w 282788"/>
                <a:gd name="connsiteY3" fmla="*/ 291021 h 368301"/>
                <a:gd name="connsiteX4" fmla="*/ 120596 w 282788"/>
                <a:gd name="connsiteY4" fmla="*/ 325071 h 368301"/>
                <a:gd name="connsiteX5" fmla="*/ 193844 w 282788"/>
                <a:gd name="connsiteY5" fmla="*/ 318373 h 368301"/>
                <a:gd name="connsiteX6" fmla="*/ 233670 w 282788"/>
                <a:gd name="connsiteY6" fmla="*/ 268414 h 368301"/>
                <a:gd name="connsiteX7" fmla="*/ 204984 w 282788"/>
                <a:gd name="connsiteY7" fmla="*/ 225153 h 368301"/>
                <a:gd name="connsiteX8" fmla="*/ 119203 w 282788"/>
                <a:gd name="connsiteY8" fmla="*/ 203383 h 368301"/>
                <a:gd name="connsiteX9" fmla="*/ 60437 w 282788"/>
                <a:gd name="connsiteY9" fmla="*/ 186916 h 368301"/>
                <a:gd name="connsiteX10" fmla="*/ 836 w 282788"/>
                <a:gd name="connsiteY10" fmla="*/ 112954 h 368301"/>
                <a:gd name="connsiteX11" fmla="*/ 49018 w 282788"/>
                <a:gd name="connsiteY11" fmla="*/ 21966 h 368301"/>
                <a:gd name="connsiteX12" fmla="*/ 117254 w 282788"/>
                <a:gd name="connsiteY12" fmla="*/ 1034 h 368301"/>
                <a:gd name="connsiteX13" fmla="*/ 266534 w 282788"/>
                <a:gd name="connsiteY13" fmla="*/ 29223 h 368301"/>
                <a:gd name="connsiteX14" fmla="*/ 275447 w 282788"/>
                <a:gd name="connsiteY14" fmla="*/ 52947 h 368301"/>
                <a:gd name="connsiteX15" fmla="*/ 264585 w 282788"/>
                <a:gd name="connsiteY15" fmla="*/ 76391 h 368301"/>
                <a:gd name="connsiteX16" fmla="*/ 241469 w 282788"/>
                <a:gd name="connsiteY16" fmla="*/ 66065 h 368301"/>
                <a:gd name="connsiteX17" fmla="*/ 84946 w 282788"/>
                <a:gd name="connsiteY17" fmla="*/ 54621 h 368301"/>
                <a:gd name="connsiteX18" fmla="*/ 52639 w 282788"/>
                <a:gd name="connsiteY18" fmla="*/ 115745 h 368301"/>
                <a:gd name="connsiteX19" fmla="*/ 85224 w 282788"/>
                <a:gd name="connsiteY19" fmla="*/ 147004 h 368301"/>
                <a:gd name="connsiteX20" fmla="*/ 167942 w 282788"/>
                <a:gd name="connsiteY20" fmla="*/ 167099 h 368301"/>
                <a:gd name="connsiteX21" fmla="*/ 224479 w 282788"/>
                <a:gd name="connsiteY21" fmla="*/ 182729 h 368301"/>
                <a:gd name="connsiteX22" fmla="*/ 282131 w 282788"/>
                <a:gd name="connsiteY22" fmla="*/ 250551 h 368301"/>
                <a:gd name="connsiteX23" fmla="*/ 243975 w 282788"/>
                <a:gd name="connsiteY23" fmla="*/ 340980 h 368301"/>
                <a:gd name="connsiteX24" fmla="*/ 160701 w 282788"/>
                <a:gd name="connsiteY24" fmla="*/ 368053 h 368301"/>
                <a:gd name="connsiteX25" fmla="*/ 137305 w 282788"/>
                <a:gd name="connsiteY25" fmla="*/ 368053 h 36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2788" h="368301">
                  <a:moveTo>
                    <a:pt x="137863" y="367774"/>
                  </a:moveTo>
                  <a:cubicBezTo>
                    <a:pt x="95808" y="368332"/>
                    <a:pt x="55424" y="361354"/>
                    <a:pt x="18382" y="339864"/>
                  </a:cubicBezTo>
                  <a:cubicBezTo>
                    <a:pt x="-1113" y="328513"/>
                    <a:pt x="-5096" y="313441"/>
                    <a:pt x="6406" y="294649"/>
                  </a:cubicBezTo>
                  <a:cubicBezTo>
                    <a:pt x="13926" y="282369"/>
                    <a:pt x="13926" y="282369"/>
                    <a:pt x="25902" y="291021"/>
                  </a:cubicBezTo>
                  <a:cubicBezTo>
                    <a:pt x="54031" y="311674"/>
                    <a:pt x="86060" y="322001"/>
                    <a:pt x="120596" y="325071"/>
                  </a:cubicBezTo>
                  <a:cubicBezTo>
                    <a:pt x="145382" y="327304"/>
                    <a:pt x="170170" y="326188"/>
                    <a:pt x="193844" y="318373"/>
                  </a:cubicBezTo>
                  <a:cubicBezTo>
                    <a:pt x="219745" y="309721"/>
                    <a:pt x="233113" y="291858"/>
                    <a:pt x="233670" y="268414"/>
                  </a:cubicBezTo>
                  <a:cubicBezTo>
                    <a:pt x="233948" y="247202"/>
                    <a:pt x="223922" y="233247"/>
                    <a:pt x="204984" y="225153"/>
                  </a:cubicBezTo>
                  <a:cubicBezTo>
                    <a:pt x="177411" y="213431"/>
                    <a:pt x="148168" y="209244"/>
                    <a:pt x="119203" y="203383"/>
                  </a:cubicBezTo>
                  <a:cubicBezTo>
                    <a:pt x="99150" y="199475"/>
                    <a:pt x="79655" y="194452"/>
                    <a:pt x="60437" y="186916"/>
                  </a:cubicBezTo>
                  <a:cubicBezTo>
                    <a:pt x="26459" y="173798"/>
                    <a:pt x="3065" y="151470"/>
                    <a:pt x="836" y="112954"/>
                  </a:cubicBezTo>
                  <a:cubicBezTo>
                    <a:pt x="-1671" y="73042"/>
                    <a:pt x="15319" y="42620"/>
                    <a:pt x="49018" y="21966"/>
                  </a:cubicBezTo>
                  <a:cubicBezTo>
                    <a:pt x="69907" y="9128"/>
                    <a:pt x="93301" y="2708"/>
                    <a:pt x="117254" y="1034"/>
                  </a:cubicBezTo>
                  <a:cubicBezTo>
                    <a:pt x="169335" y="-2874"/>
                    <a:pt x="219745" y="3825"/>
                    <a:pt x="266534" y="29223"/>
                  </a:cubicBezTo>
                  <a:cubicBezTo>
                    <a:pt x="281574" y="37317"/>
                    <a:pt x="281852" y="37317"/>
                    <a:pt x="275447" y="52947"/>
                  </a:cubicBezTo>
                  <a:cubicBezTo>
                    <a:pt x="272105" y="61041"/>
                    <a:pt x="272105" y="73321"/>
                    <a:pt x="264585" y="76391"/>
                  </a:cubicBezTo>
                  <a:cubicBezTo>
                    <a:pt x="257065" y="79461"/>
                    <a:pt x="249267" y="69693"/>
                    <a:pt x="241469" y="66065"/>
                  </a:cubicBezTo>
                  <a:cubicBezTo>
                    <a:pt x="190780" y="42620"/>
                    <a:pt x="138420" y="37317"/>
                    <a:pt x="84946" y="54621"/>
                  </a:cubicBezTo>
                  <a:cubicBezTo>
                    <a:pt x="55981" y="64111"/>
                    <a:pt x="44005" y="88951"/>
                    <a:pt x="52639" y="115745"/>
                  </a:cubicBezTo>
                  <a:cubicBezTo>
                    <a:pt x="57931" y="131933"/>
                    <a:pt x="70463" y="140585"/>
                    <a:pt x="85224" y="147004"/>
                  </a:cubicBezTo>
                  <a:cubicBezTo>
                    <a:pt x="111683" y="158447"/>
                    <a:pt x="140091" y="161517"/>
                    <a:pt x="167942" y="167099"/>
                  </a:cubicBezTo>
                  <a:cubicBezTo>
                    <a:pt x="187159" y="171007"/>
                    <a:pt x="206097" y="175473"/>
                    <a:pt x="224479" y="182729"/>
                  </a:cubicBezTo>
                  <a:cubicBezTo>
                    <a:pt x="255951" y="194731"/>
                    <a:pt x="278510" y="214826"/>
                    <a:pt x="282131" y="250551"/>
                  </a:cubicBezTo>
                  <a:cubicBezTo>
                    <a:pt x="285752" y="287393"/>
                    <a:pt x="274611" y="318652"/>
                    <a:pt x="243975" y="340980"/>
                  </a:cubicBezTo>
                  <a:cubicBezTo>
                    <a:pt x="219187" y="359122"/>
                    <a:pt x="190780" y="365820"/>
                    <a:pt x="160701" y="368053"/>
                  </a:cubicBezTo>
                  <a:cubicBezTo>
                    <a:pt x="152903" y="368611"/>
                    <a:pt x="145105" y="368053"/>
                    <a:pt x="137305" y="368053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F41309B3-67A3-E9D6-71B6-A9492291B57E}"/>
                </a:ext>
              </a:extLst>
            </p:cNvPr>
            <p:cNvSpPr/>
            <p:nvPr/>
          </p:nvSpPr>
          <p:spPr>
            <a:xfrm>
              <a:off x="15687888" y="-785323"/>
              <a:ext cx="292041" cy="349589"/>
            </a:xfrm>
            <a:custGeom>
              <a:avLst/>
              <a:gdLst>
                <a:gd name="connsiteX0" fmla="*/ 294 w 292041"/>
                <a:gd name="connsiteY0" fmla="*/ 174997 h 349589"/>
                <a:gd name="connsiteX1" fmla="*/ 294 w 292041"/>
                <a:gd name="connsiteY1" fmla="*/ 14234 h 349589"/>
                <a:gd name="connsiteX2" fmla="*/ 14219 w 292041"/>
                <a:gd name="connsiteY2" fmla="*/ 0 h 349589"/>
                <a:gd name="connsiteX3" fmla="*/ 163779 w 292041"/>
                <a:gd name="connsiteY3" fmla="*/ 558 h 349589"/>
                <a:gd name="connsiteX4" fmla="*/ 233128 w 292041"/>
                <a:gd name="connsiteY4" fmla="*/ 17025 h 349589"/>
                <a:gd name="connsiteX5" fmla="*/ 291614 w 292041"/>
                <a:gd name="connsiteY5" fmla="*/ 114990 h 349589"/>
                <a:gd name="connsiteX6" fmla="*/ 288829 w 292041"/>
                <a:gd name="connsiteY6" fmla="*/ 157972 h 349589"/>
                <a:gd name="connsiteX7" fmla="*/ 189958 w 292041"/>
                <a:gd name="connsiteY7" fmla="*/ 242819 h 349589"/>
                <a:gd name="connsiteX8" fmla="*/ 64908 w 292041"/>
                <a:gd name="connsiteY8" fmla="*/ 245052 h 349589"/>
                <a:gd name="connsiteX9" fmla="*/ 47361 w 292041"/>
                <a:gd name="connsiteY9" fmla="*/ 262635 h 349589"/>
                <a:gd name="connsiteX10" fmla="*/ 47361 w 292041"/>
                <a:gd name="connsiteY10" fmla="*/ 335760 h 349589"/>
                <a:gd name="connsiteX11" fmla="*/ 33993 w 292041"/>
                <a:gd name="connsiteY11" fmla="*/ 349436 h 349589"/>
                <a:gd name="connsiteX12" fmla="*/ 13940 w 292041"/>
                <a:gd name="connsiteY12" fmla="*/ 349436 h 349589"/>
                <a:gd name="connsiteX13" fmla="*/ 15 w 292041"/>
                <a:gd name="connsiteY13" fmla="*/ 335481 h 349589"/>
                <a:gd name="connsiteX14" fmla="*/ 15 w 292041"/>
                <a:gd name="connsiteY14" fmla="*/ 184486 h 349589"/>
                <a:gd name="connsiteX15" fmla="*/ 15 w 292041"/>
                <a:gd name="connsiteY15" fmla="*/ 174439 h 349589"/>
                <a:gd name="connsiteX16" fmla="*/ 120052 w 292041"/>
                <a:gd name="connsiteY16" fmla="*/ 42703 h 349589"/>
                <a:gd name="connsiteX17" fmla="*/ 59337 w 292041"/>
                <a:gd name="connsiteY17" fmla="*/ 42703 h 349589"/>
                <a:gd name="connsiteX18" fmla="*/ 47083 w 292041"/>
                <a:gd name="connsiteY18" fmla="*/ 55262 h 349589"/>
                <a:gd name="connsiteX19" fmla="*/ 47083 w 292041"/>
                <a:gd name="connsiteY19" fmla="*/ 195092 h 349589"/>
                <a:gd name="connsiteX20" fmla="*/ 59616 w 292041"/>
                <a:gd name="connsiteY20" fmla="*/ 206815 h 349589"/>
                <a:gd name="connsiteX21" fmla="*/ 155980 w 292041"/>
                <a:gd name="connsiteY21" fmla="*/ 206815 h 349589"/>
                <a:gd name="connsiteX22" fmla="*/ 192187 w 292041"/>
                <a:gd name="connsiteY22" fmla="*/ 202070 h 349589"/>
                <a:gd name="connsiteX23" fmla="*/ 242318 w 292041"/>
                <a:gd name="connsiteY23" fmla="*/ 141784 h 349589"/>
                <a:gd name="connsiteX24" fmla="*/ 242318 w 292041"/>
                <a:gd name="connsiteY24" fmla="*/ 111920 h 349589"/>
                <a:gd name="connsiteX25" fmla="*/ 186616 w 292041"/>
                <a:gd name="connsiteY25" fmla="*/ 46052 h 349589"/>
                <a:gd name="connsiteX26" fmla="*/ 120052 w 292041"/>
                <a:gd name="connsiteY26" fmla="*/ 43261 h 349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2041" h="349589">
                  <a:moveTo>
                    <a:pt x="294" y="174997"/>
                  </a:moveTo>
                  <a:cubicBezTo>
                    <a:pt x="294" y="121409"/>
                    <a:pt x="294" y="67822"/>
                    <a:pt x="294" y="14234"/>
                  </a:cubicBezTo>
                  <a:cubicBezTo>
                    <a:pt x="294" y="3628"/>
                    <a:pt x="3357" y="0"/>
                    <a:pt x="14219" y="0"/>
                  </a:cubicBezTo>
                  <a:cubicBezTo>
                    <a:pt x="64072" y="558"/>
                    <a:pt x="113925" y="0"/>
                    <a:pt x="163779" y="558"/>
                  </a:cubicBezTo>
                  <a:cubicBezTo>
                    <a:pt x="188009" y="837"/>
                    <a:pt x="211682" y="5861"/>
                    <a:pt x="233128" y="17025"/>
                  </a:cubicBezTo>
                  <a:cubicBezTo>
                    <a:pt x="272676" y="37679"/>
                    <a:pt x="288272" y="72846"/>
                    <a:pt x="291614" y="114990"/>
                  </a:cubicBezTo>
                  <a:cubicBezTo>
                    <a:pt x="292729" y="129503"/>
                    <a:pt x="291614" y="143738"/>
                    <a:pt x="288829" y="157972"/>
                  </a:cubicBezTo>
                  <a:cubicBezTo>
                    <a:pt x="279081" y="205140"/>
                    <a:pt x="242875" y="236399"/>
                    <a:pt x="189958" y="242819"/>
                  </a:cubicBezTo>
                  <a:cubicBezTo>
                    <a:pt x="148460" y="247843"/>
                    <a:pt x="106684" y="244214"/>
                    <a:pt x="64908" y="245052"/>
                  </a:cubicBezTo>
                  <a:cubicBezTo>
                    <a:pt x="47361" y="245331"/>
                    <a:pt x="47361" y="245052"/>
                    <a:pt x="47361" y="262635"/>
                  </a:cubicBezTo>
                  <a:cubicBezTo>
                    <a:pt x="47361" y="286917"/>
                    <a:pt x="47083" y="311478"/>
                    <a:pt x="47361" y="335760"/>
                  </a:cubicBezTo>
                  <a:cubicBezTo>
                    <a:pt x="47361" y="345528"/>
                    <a:pt x="44576" y="350552"/>
                    <a:pt x="33993" y="349436"/>
                  </a:cubicBezTo>
                  <a:cubicBezTo>
                    <a:pt x="27309" y="348878"/>
                    <a:pt x="20625" y="348878"/>
                    <a:pt x="13940" y="349436"/>
                  </a:cubicBezTo>
                  <a:cubicBezTo>
                    <a:pt x="3357" y="350273"/>
                    <a:pt x="-264" y="346366"/>
                    <a:pt x="15" y="335481"/>
                  </a:cubicBezTo>
                  <a:cubicBezTo>
                    <a:pt x="572" y="285242"/>
                    <a:pt x="15" y="235004"/>
                    <a:pt x="15" y="184486"/>
                  </a:cubicBezTo>
                  <a:cubicBezTo>
                    <a:pt x="15" y="181137"/>
                    <a:pt x="15" y="177788"/>
                    <a:pt x="15" y="174439"/>
                  </a:cubicBezTo>
                  <a:close/>
                  <a:moveTo>
                    <a:pt x="120052" y="42703"/>
                  </a:moveTo>
                  <a:cubicBezTo>
                    <a:pt x="96936" y="42703"/>
                    <a:pt x="78276" y="42982"/>
                    <a:pt x="59337" y="42703"/>
                  </a:cubicBezTo>
                  <a:cubicBezTo>
                    <a:pt x="50147" y="42703"/>
                    <a:pt x="47083" y="46331"/>
                    <a:pt x="47083" y="55262"/>
                  </a:cubicBezTo>
                  <a:cubicBezTo>
                    <a:pt x="47083" y="101872"/>
                    <a:pt x="47361" y="148482"/>
                    <a:pt x="47083" y="195092"/>
                  </a:cubicBezTo>
                  <a:cubicBezTo>
                    <a:pt x="47083" y="204582"/>
                    <a:pt x="50982" y="207094"/>
                    <a:pt x="59616" y="206815"/>
                  </a:cubicBezTo>
                  <a:cubicBezTo>
                    <a:pt x="91645" y="206536"/>
                    <a:pt x="123951" y="206815"/>
                    <a:pt x="155980" y="206815"/>
                  </a:cubicBezTo>
                  <a:cubicBezTo>
                    <a:pt x="168235" y="206815"/>
                    <a:pt x="180210" y="205140"/>
                    <a:pt x="192187" y="202070"/>
                  </a:cubicBezTo>
                  <a:cubicBezTo>
                    <a:pt x="221709" y="194534"/>
                    <a:pt x="240090" y="171927"/>
                    <a:pt x="242318" y="141784"/>
                  </a:cubicBezTo>
                  <a:cubicBezTo>
                    <a:pt x="243153" y="131736"/>
                    <a:pt x="242875" y="121968"/>
                    <a:pt x="242318" y="111920"/>
                  </a:cubicBezTo>
                  <a:cubicBezTo>
                    <a:pt x="239811" y="77311"/>
                    <a:pt x="220316" y="54146"/>
                    <a:pt x="186616" y="46052"/>
                  </a:cubicBezTo>
                  <a:cubicBezTo>
                    <a:pt x="163221" y="40470"/>
                    <a:pt x="139548" y="44656"/>
                    <a:pt x="120052" y="43261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50A5791F-86F9-BFC4-5837-6A6A5B82E23D}"/>
                </a:ext>
              </a:extLst>
            </p:cNvPr>
            <p:cNvSpPr/>
            <p:nvPr/>
          </p:nvSpPr>
          <p:spPr>
            <a:xfrm>
              <a:off x="16766292" y="-785338"/>
              <a:ext cx="281401" cy="350397"/>
            </a:xfrm>
            <a:custGeom>
              <a:avLst/>
              <a:gdLst>
                <a:gd name="connsiteX0" fmla="*/ 0 w 281401"/>
                <a:gd name="connsiteY0" fmla="*/ 175012 h 350397"/>
                <a:gd name="connsiteX1" fmla="*/ 0 w 281401"/>
                <a:gd name="connsiteY1" fmla="*/ 13970 h 350397"/>
                <a:gd name="connsiteX2" fmla="*/ 13925 w 281401"/>
                <a:gd name="connsiteY2" fmla="*/ 15 h 350397"/>
                <a:gd name="connsiteX3" fmla="*/ 158193 w 281401"/>
                <a:gd name="connsiteY3" fmla="*/ 573 h 350397"/>
                <a:gd name="connsiteX4" fmla="*/ 204983 w 281401"/>
                <a:gd name="connsiteY4" fmla="*/ 8667 h 350397"/>
                <a:gd name="connsiteX5" fmla="*/ 280737 w 281401"/>
                <a:gd name="connsiteY5" fmla="*/ 110539 h 350397"/>
                <a:gd name="connsiteX6" fmla="*/ 280181 w 281401"/>
                <a:gd name="connsiteY6" fmla="*/ 149335 h 350397"/>
                <a:gd name="connsiteX7" fmla="*/ 185487 w 281401"/>
                <a:gd name="connsiteY7" fmla="*/ 243113 h 350397"/>
                <a:gd name="connsiteX8" fmla="*/ 153458 w 281401"/>
                <a:gd name="connsiteY8" fmla="*/ 245625 h 350397"/>
                <a:gd name="connsiteX9" fmla="*/ 58208 w 281401"/>
                <a:gd name="connsiteY9" fmla="*/ 245625 h 350397"/>
                <a:gd name="connsiteX10" fmla="*/ 45954 w 281401"/>
                <a:gd name="connsiteY10" fmla="*/ 257626 h 350397"/>
                <a:gd name="connsiteX11" fmla="*/ 46232 w 281401"/>
                <a:gd name="connsiteY11" fmla="*/ 337449 h 350397"/>
                <a:gd name="connsiteX12" fmla="*/ 33421 w 281401"/>
                <a:gd name="connsiteY12" fmla="*/ 350288 h 350397"/>
                <a:gd name="connsiteX13" fmla="*/ 15596 w 281401"/>
                <a:gd name="connsiteY13" fmla="*/ 350288 h 350397"/>
                <a:gd name="connsiteX14" fmla="*/ 557 w 281401"/>
                <a:gd name="connsiteY14" fmla="*/ 335496 h 350397"/>
                <a:gd name="connsiteX15" fmla="*/ 557 w 281401"/>
                <a:gd name="connsiteY15" fmla="*/ 175570 h 350397"/>
                <a:gd name="connsiteX16" fmla="*/ 45396 w 281401"/>
                <a:gd name="connsiteY16" fmla="*/ 125053 h 350397"/>
                <a:gd name="connsiteX17" fmla="*/ 45396 w 281401"/>
                <a:gd name="connsiteY17" fmla="*/ 192874 h 350397"/>
                <a:gd name="connsiteX18" fmla="*/ 60157 w 281401"/>
                <a:gd name="connsiteY18" fmla="*/ 207109 h 350397"/>
                <a:gd name="connsiteX19" fmla="*/ 133405 w 281401"/>
                <a:gd name="connsiteY19" fmla="*/ 207109 h 350397"/>
                <a:gd name="connsiteX20" fmla="*/ 172119 w 281401"/>
                <a:gd name="connsiteY20" fmla="*/ 205155 h 350397"/>
                <a:gd name="connsiteX21" fmla="*/ 233948 w 281401"/>
                <a:gd name="connsiteY21" fmla="*/ 138728 h 350397"/>
                <a:gd name="connsiteX22" fmla="*/ 233948 w 281401"/>
                <a:gd name="connsiteY22" fmla="*/ 116400 h 350397"/>
                <a:gd name="connsiteX23" fmla="*/ 160700 w 281401"/>
                <a:gd name="connsiteY23" fmla="*/ 43276 h 350397"/>
                <a:gd name="connsiteX24" fmla="*/ 57651 w 281401"/>
                <a:gd name="connsiteY24" fmla="*/ 42996 h 350397"/>
                <a:gd name="connsiteX25" fmla="*/ 45675 w 281401"/>
                <a:gd name="connsiteY25" fmla="*/ 55556 h 350397"/>
                <a:gd name="connsiteX26" fmla="*/ 45675 w 281401"/>
                <a:gd name="connsiteY26" fmla="*/ 125332 h 35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1401" h="350397">
                  <a:moveTo>
                    <a:pt x="0" y="175012"/>
                  </a:moveTo>
                  <a:cubicBezTo>
                    <a:pt x="0" y="121424"/>
                    <a:pt x="0" y="67558"/>
                    <a:pt x="0" y="13970"/>
                  </a:cubicBezTo>
                  <a:cubicBezTo>
                    <a:pt x="0" y="3364"/>
                    <a:pt x="3063" y="-264"/>
                    <a:pt x="13925" y="15"/>
                  </a:cubicBezTo>
                  <a:cubicBezTo>
                    <a:pt x="62107" y="573"/>
                    <a:pt x="110011" y="15"/>
                    <a:pt x="158193" y="573"/>
                  </a:cubicBezTo>
                  <a:cubicBezTo>
                    <a:pt x="174068" y="573"/>
                    <a:pt x="189943" y="3364"/>
                    <a:pt x="204983" y="8667"/>
                  </a:cubicBezTo>
                  <a:cubicBezTo>
                    <a:pt x="250380" y="24018"/>
                    <a:pt x="278231" y="61417"/>
                    <a:pt x="280737" y="110539"/>
                  </a:cubicBezTo>
                  <a:cubicBezTo>
                    <a:pt x="281294" y="123378"/>
                    <a:pt x="282129" y="136496"/>
                    <a:pt x="280181" y="149335"/>
                  </a:cubicBezTo>
                  <a:cubicBezTo>
                    <a:pt x="271825" y="203201"/>
                    <a:pt x="239518" y="235019"/>
                    <a:pt x="185487" y="243113"/>
                  </a:cubicBezTo>
                  <a:cubicBezTo>
                    <a:pt x="174904" y="244787"/>
                    <a:pt x="164320" y="245625"/>
                    <a:pt x="153458" y="245625"/>
                  </a:cubicBezTo>
                  <a:cubicBezTo>
                    <a:pt x="121709" y="245625"/>
                    <a:pt x="89958" y="245625"/>
                    <a:pt x="58208" y="245625"/>
                  </a:cubicBezTo>
                  <a:cubicBezTo>
                    <a:pt x="49296" y="245625"/>
                    <a:pt x="45675" y="248137"/>
                    <a:pt x="45954" y="257626"/>
                  </a:cubicBezTo>
                  <a:cubicBezTo>
                    <a:pt x="46511" y="284141"/>
                    <a:pt x="45954" y="310935"/>
                    <a:pt x="46232" y="337449"/>
                  </a:cubicBezTo>
                  <a:cubicBezTo>
                    <a:pt x="46232" y="347218"/>
                    <a:pt x="42890" y="351125"/>
                    <a:pt x="33421" y="350288"/>
                  </a:cubicBezTo>
                  <a:cubicBezTo>
                    <a:pt x="27572" y="349730"/>
                    <a:pt x="21724" y="350288"/>
                    <a:pt x="15596" y="350288"/>
                  </a:cubicBezTo>
                  <a:cubicBezTo>
                    <a:pt x="835" y="350288"/>
                    <a:pt x="557" y="350288"/>
                    <a:pt x="557" y="335496"/>
                  </a:cubicBezTo>
                  <a:cubicBezTo>
                    <a:pt x="557" y="282187"/>
                    <a:pt x="557" y="228879"/>
                    <a:pt x="557" y="175570"/>
                  </a:cubicBezTo>
                  <a:close/>
                  <a:moveTo>
                    <a:pt x="45396" y="125053"/>
                  </a:moveTo>
                  <a:cubicBezTo>
                    <a:pt x="45396" y="147660"/>
                    <a:pt x="45954" y="170267"/>
                    <a:pt x="45396" y="192874"/>
                  </a:cubicBezTo>
                  <a:cubicBezTo>
                    <a:pt x="44840" y="204597"/>
                    <a:pt x="49017" y="207388"/>
                    <a:pt x="60157" y="207109"/>
                  </a:cubicBezTo>
                  <a:cubicBezTo>
                    <a:pt x="84388" y="206271"/>
                    <a:pt x="108896" y="206829"/>
                    <a:pt x="133405" y="207109"/>
                  </a:cubicBezTo>
                  <a:cubicBezTo>
                    <a:pt x="146218" y="207109"/>
                    <a:pt x="159307" y="206550"/>
                    <a:pt x="172119" y="205155"/>
                  </a:cubicBezTo>
                  <a:cubicBezTo>
                    <a:pt x="208882" y="200968"/>
                    <a:pt x="232555" y="175849"/>
                    <a:pt x="233948" y="138728"/>
                  </a:cubicBezTo>
                  <a:cubicBezTo>
                    <a:pt x="233948" y="131472"/>
                    <a:pt x="233948" y="123936"/>
                    <a:pt x="233948" y="116400"/>
                  </a:cubicBezTo>
                  <a:cubicBezTo>
                    <a:pt x="232555" y="70907"/>
                    <a:pt x="206097" y="44113"/>
                    <a:pt x="160700" y="43276"/>
                  </a:cubicBezTo>
                  <a:cubicBezTo>
                    <a:pt x="126443" y="42718"/>
                    <a:pt x="91908" y="43276"/>
                    <a:pt x="57651" y="42996"/>
                  </a:cubicBezTo>
                  <a:cubicBezTo>
                    <a:pt x="48182" y="42996"/>
                    <a:pt x="45675" y="46625"/>
                    <a:pt x="45675" y="55556"/>
                  </a:cubicBezTo>
                  <a:cubicBezTo>
                    <a:pt x="46232" y="78722"/>
                    <a:pt x="45675" y="102166"/>
                    <a:pt x="45675" y="125332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2" name="Freeform 3071">
              <a:extLst>
                <a:ext uri="{FF2B5EF4-FFF2-40B4-BE49-F238E27FC236}">
                  <a16:creationId xmlns:a16="http://schemas.microsoft.com/office/drawing/2014/main" id="{976EC290-BA3E-7DE5-E103-CFA0D5451C01}"/>
                </a:ext>
              </a:extLst>
            </p:cNvPr>
            <p:cNvSpPr/>
            <p:nvPr/>
          </p:nvSpPr>
          <p:spPr>
            <a:xfrm>
              <a:off x="11887640" y="-785044"/>
              <a:ext cx="282574" cy="349767"/>
            </a:xfrm>
            <a:custGeom>
              <a:avLst/>
              <a:gdLst>
                <a:gd name="connsiteX0" fmla="*/ 279 w 282574"/>
                <a:gd name="connsiteY0" fmla="*/ 174718 h 349767"/>
                <a:gd name="connsiteX1" fmla="*/ 279 w 282574"/>
                <a:gd name="connsiteY1" fmla="*/ 14792 h 349767"/>
                <a:gd name="connsiteX2" fmla="*/ 15318 w 282574"/>
                <a:gd name="connsiteY2" fmla="*/ 0 h 349767"/>
                <a:gd name="connsiteX3" fmla="*/ 159586 w 282574"/>
                <a:gd name="connsiteY3" fmla="*/ 279 h 349767"/>
                <a:gd name="connsiteX4" fmla="*/ 224757 w 282574"/>
                <a:gd name="connsiteY4" fmla="*/ 15909 h 349767"/>
                <a:gd name="connsiteX5" fmla="*/ 282130 w 282574"/>
                <a:gd name="connsiteY5" fmla="*/ 114711 h 349767"/>
                <a:gd name="connsiteX6" fmla="*/ 280738 w 282574"/>
                <a:gd name="connsiteY6" fmla="*/ 151273 h 349767"/>
                <a:gd name="connsiteX7" fmla="*/ 185487 w 282574"/>
                <a:gd name="connsiteY7" fmla="*/ 242819 h 349767"/>
                <a:gd name="connsiteX8" fmla="*/ 64614 w 282574"/>
                <a:gd name="connsiteY8" fmla="*/ 245052 h 349767"/>
                <a:gd name="connsiteX9" fmla="*/ 45119 w 282574"/>
                <a:gd name="connsiteY9" fmla="*/ 265147 h 349767"/>
                <a:gd name="connsiteX10" fmla="*/ 45119 w 282574"/>
                <a:gd name="connsiteY10" fmla="*/ 337435 h 349767"/>
                <a:gd name="connsiteX11" fmla="*/ 32864 w 282574"/>
                <a:gd name="connsiteY11" fmla="*/ 349715 h 349767"/>
                <a:gd name="connsiteX12" fmla="*/ 9469 w 282574"/>
                <a:gd name="connsiteY12" fmla="*/ 349715 h 349767"/>
                <a:gd name="connsiteX13" fmla="*/ 0 w 282574"/>
                <a:gd name="connsiteY13" fmla="*/ 340505 h 349767"/>
                <a:gd name="connsiteX14" fmla="*/ 0 w 282574"/>
                <a:gd name="connsiteY14" fmla="*/ 330457 h 349767"/>
                <a:gd name="connsiteX15" fmla="*/ 0 w 282574"/>
                <a:gd name="connsiteY15" fmla="*/ 174997 h 349767"/>
                <a:gd name="connsiteX16" fmla="*/ 45119 w 282574"/>
                <a:gd name="connsiteY16" fmla="*/ 124480 h 349767"/>
                <a:gd name="connsiteX17" fmla="*/ 45119 w 282574"/>
                <a:gd name="connsiteY17" fmla="*/ 195651 h 349767"/>
                <a:gd name="connsiteX18" fmla="*/ 53752 w 282574"/>
                <a:gd name="connsiteY18" fmla="*/ 206536 h 349767"/>
                <a:gd name="connsiteX19" fmla="*/ 173512 w 282574"/>
                <a:gd name="connsiteY19" fmla="*/ 204303 h 349767"/>
                <a:gd name="connsiteX20" fmla="*/ 237012 w 282574"/>
                <a:gd name="connsiteY20" fmla="*/ 141226 h 349767"/>
                <a:gd name="connsiteX21" fmla="*/ 237569 w 282574"/>
                <a:gd name="connsiteY21" fmla="*/ 121130 h 349767"/>
                <a:gd name="connsiteX22" fmla="*/ 159586 w 282574"/>
                <a:gd name="connsiteY22" fmla="*/ 42424 h 349767"/>
                <a:gd name="connsiteX23" fmla="*/ 57651 w 282574"/>
                <a:gd name="connsiteY23" fmla="*/ 42144 h 349767"/>
                <a:gd name="connsiteX24" fmla="*/ 45397 w 282574"/>
                <a:gd name="connsiteY24" fmla="*/ 54425 h 349767"/>
                <a:gd name="connsiteX25" fmla="*/ 45397 w 282574"/>
                <a:gd name="connsiteY25" fmla="*/ 124480 h 34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2574" h="349767">
                  <a:moveTo>
                    <a:pt x="279" y="174718"/>
                  </a:moveTo>
                  <a:cubicBezTo>
                    <a:pt x="279" y="121409"/>
                    <a:pt x="279" y="68101"/>
                    <a:pt x="279" y="14792"/>
                  </a:cubicBezTo>
                  <a:cubicBezTo>
                    <a:pt x="279" y="279"/>
                    <a:pt x="835" y="0"/>
                    <a:pt x="15318" y="0"/>
                  </a:cubicBezTo>
                  <a:cubicBezTo>
                    <a:pt x="63500" y="0"/>
                    <a:pt x="111404" y="0"/>
                    <a:pt x="159586" y="279"/>
                  </a:cubicBezTo>
                  <a:cubicBezTo>
                    <a:pt x="182424" y="279"/>
                    <a:pt x="204426" y="5303"/>
                    <a:pt x="224757" y="15909"/>
                  </a:cubicBezTo>
                  <a:cubicBezTo>
                    <a:pt x="264584" y="36563"/>
                    <a:pt x="278788" y="72567"/>
                    <a:pt x="282130" y="114711"/>
                  </a:cubicBezTo>
                  <a:cubicBezTo>
                    <a:pt x="282966" y="126712"/>
                    <a:pt x="282687" y="138993"/>
                    <a:pt x="280738" y="151273"/>
                  </a:cubicBezTo>
                  <a:cubicBezTo>
                    <a:pt x="272104" y="204024"/>
                    <a:pt x="238961" y="236120"/>
                    <a:pt x="185487" y="242819"/>
                  </a:cubicBezTo>
                  <a:cubicBezTo>
                    <a:pt x="145382" y="247843"/>
                    <a:pt x="104998" y="244214"/>
                    <a:pt x="64614" y="245052"/>
                  </a:cubicBezTo>
                  <a:cubicBezTo>
                    <a:pt x="42890" y="245610"/>
                    <a:pt x="45119" y="243656"/>
                    <a:pt x="45119" y="265147"/>
                  </a:cubicBezTo>
                  <a:cubicBezTo>
                    <a:pt x="45119" y="289150"/>
                    <a:pt x="44840" y="313153"/>
                    <a:pt x="45119" y="337435"/>
                  </a:cubicBezTo>
                  <a:cubicBezTo>
                    <a:pt x="45119" y="346366"/>
                    <a:pt x="42333" y="350273"/>
                    <a:pt x="32864" y="349715"/>
                  </a:cubicBezTo>
                  <a:cubicBezTo>
                    <a:pt x="25066" y="349157"/>
                    <a:pt x="17268" y="349436"/>
                    <a:pt x="9469" y="349715"/>
                  </a:cubicBezTo>
                  <a:cubicBezTo>
                    <a:pt x="2785" y="349715"/>
                    <a:pt x="0" y="346924"/>
                    <a:pt x="0" y="340505"/>
                  </a:cubicBezTo>
                  <a:cubicBezTo>
                    <a:pt x="0" y="337155"/>
                    <a:pt x="0" y="333806"/>
                    <a:pt x="0" y="330457"/>
                  </a:cubicBezTo>
                  <a:cubicBezTo>
                    <a:pt x="0" y="278544"/>
                    <a:pt x="0" y="226910"/>
                    <a:pt x="0" y="174997"/>
                  </a:cubicBezTo>
                  <a:close/>
                  <a:moveTo>
                    <a:pt x="45119" y="124480"/>
                  </a:moveTo>
                  <a:cubicBezTo>
                    <a:pt x="45119" y="148203"/>
                    <a:pt x="45119" y="171927"/>
                    <a:pt x="45119" y="195651"/>
                  </a:cubicBezTo>
                  <a:cubicBezTo>
                    <a:pt x="45119" y="201791"/>
                    <a:pt x="45397" y="206815"/>
                    <a:pt x="53752" y="206536"/>
                  </a:cubicBezTo>
                  <a:cubicBezTo>
                    <a:pt x="93579" y="205419"/>
                    <a:pt x="133685" y="208768"/>
                    <a:pt x="173512" y="204303"/>
                  </a:cubicBezTo>
                  <a:cubicBezTo>
                    <a:pt x="209718" y="200395"/>
                    <a:pt x="232834" y="177509"/>
                    <a:pt x="237012" y="141226"/>
                  </a:cubicBezTo>
                  <a:cubicBezTo>
                    <a:pt x="237847" y="134527"/>
                    <a:pt x="237569" y="127829"/>
                    <a:pt x="237569" y="121130"/>
                  </a:cubicBezTo>
                  <a:cubicBezTo>
                    <a:pt x="236733" y="71450"/>
                    <a:pt x="209161" y="43261"/>
                    <a:pt x="159586" y="42424"/>
                  </a:cubicBezTo>
                  <a:cubicBezTo>
                    <a:pt x="125608" y="41865"/>
                    <a:pt x="91630" y="42424"/>
                    <a:pt x="57651" y="42144"/>
                  </a:cubicBezTo>
                  <a:cubicBezTo>
                    <a:pt x="48739" y="42144"/>
                    <a:pt x="45119" y="44935"/>
                    <a:pt x="45397" y="54425"/>
                  </a:cubicBezTo>
                  <a:cubicBezTo>
                    <a:pt x="45954" y="77590"/>
                    <a:pt x="45397" y="101035"/>
                    <a:pt x="45397" y="124480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3" name="Freeform 3072">
              <a:extLst>
                <a:ext uri="{FF2B5EF4-FFF2-40B4-BE49-F238E27FC236}">
                  <a16:creationId xmlns:a16="http://schemas.microsoft.com/office/drawing/2014/main" id="{5EB03442-445B-FCA3-FE61-669B82D333F5}"/>
                </a:ext>
              </a:extLst>
            </p:cNvPr>
            <p:cNvSpPr/>
            <p:nvPr/>
          </p:nvSpPr>
          <p:spPr>
            <a:xfrm>
              <a:off x="16034523" y="-785602"/>
              <a:ext cx="291457" cy="359328"/>
            </a:xfrm>
            <a:custGeom>
              <a:avLst/>
              <a:gdLst>
                <a:gd name="connsiteX0" fmla="*/ 47192 w 291457"/>
                <a:gd name="connsiteY0" fmla="*/ 121130 h 359328"/>
                <a:gd name="connsiteX1" fmla="*/ 47192 w 291457"/>
                <a:gd name="connsiteY1" fmla="*/ 228864 h 359328"/>
                <a:gd name="connsiteX2" fmla="*/ 103729 w 291457"/>
                <a:gd name="connsiteY2" fmla="*/ 312315 h 359328"/>
                <a:gd name="connsiteX3" fmla="*/ 156368 w 291457"/>
                <a:gd name="connsiteY3" fmla="*/ 317339 h 359328"/>
                <a:gd name="connsiteX4" fmla="*/ 177256 w 291457"/>
                <a:gd name="connsiteY4" fmla="*/ 314827 h 359328"/>
                <a:gd name="connsiteX5" fmla="*/ 243820 w 291457"/>
                <a:gd name="connsiteY5" fmla="*/ 231655 h 359328"/>
                <a:gd name="connsiteX6" fmla="*/ 245769 w 291457"/>
                <a:gd name="connsiteY6" fmla="*/ 45214 h 359328"/>
                <a:gd name="connsiteX7" fmla="*/ 245769 w 291457"/>
                <a:gd name="connsiteY7" fmla="*/ 10885 h 359328"/>
                <a:gd name="connsiteX8" fmla="*/ 256074 w 291457"/>
                <a:gd name="connsiteY8" fmla="*/ 279 h 359328"/>
                <a:gd name="connsiteX9" fmla="*/ 277241 w 291457"/>
                <a:gd name="connsiteY9" fmla="*/ 279 h 359328"/>
                <a:gd name="connsiteX10" fmla="*/ 291445 w 291457"/>
                <a:gd name="connsiteY10" fmla="*/ 13955 h 359328"/>
                <a:gd name="connsiteX11" fmla="*/ 291445 w 291457"/>
                <a:gd name="connsiteY11" fmla="*/ 75078 h 359328"/>
                <a:gd name="connsiteX12" fmla="*/ 291445 w 291457"/>
                <a:gd name="connsiteY12" fmla="*/ 211559 h 359328"/>
                <a:gd name="connsiteX13" fmla="*/ 281697 w 291457"/>
                <a:gd name="connsiteY13" fmla="*/ 279381 h 359328"/>
                <a:gd name="connsiteX14" fmla="*/ 205942 w 291457"/>
                <a:gd name="connsiteY14" fmla="*/ 351669 h 359328"/>
                <a:gd name="connsiteX15" fmla="*/ 91754 w 291457"/>
                <a:gd name="connsiteY15" fmla="*/ 353343 h 359328"/>
                <a:gd name="connsiteX16" fmla="*/ 7365 w 291457"/>
                <a:gd name="connsiteY16" fmla="*/ 270450 h 359328"/>
                <a:gd name="connsiteX17" fmla="*/ 124 w 291457"/>
                <a:gd name="connsiteY17" fmla="*/ 213234 h 359328"/>
                <a:gd name="connsiteX18" fmla="*/ 124 w 291457"/>
                <a:gd name="connsiteY18" fmla="*/ 15630 h 359328"/>
                <a:gd name="connsiteX19" fmla="*/ 15721 w 291457"/>
                <a:gd name="connsiteY19" fmla="*/ 0 h 359328"/>
                <a:gd name="connsiteX20" fmla="*/ 46914 w 291457"/>
                <a:gd name="connsiteY20" fmla="*/ 30980 h 359328"/>
                <a:gd name="connsiteX21" fmla="*/ 46914 w 291457"/>
                <a:gd name="connsiteY21" fmla="*/ 120851 h 359328"/>
                <a:gd name="connsiteX22" fmla="*/ 47471 w 291457"/>
                <a:gd name="connsiteY22" fmla="*/ 120851 h 35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1457" h="359328">
                  <a:moveTo>
                    <a:pt x="47192" y="121130"/>
                  </a:moveTo>
                  <a:cubicBezTo>
                    <a:pt x="47192" y="157134"/>
                    <a:pt x="46356" y="192859"/>
                    <a:pt x="47192" y="228864"/>
                  </a:cubicBezTo>
                  <a:cubicBezTo>
                    <a:pt x="48306" y="273520"/>
                    <a:pt x="68359" y="302268"/>
                    <a:pt x="103729" y="312315"/>
                  </a:cubicBezTo>
                  <a:cubicBezTo>
                    <a:pt x="120997" y="317339"/>
                    <a:pt x="138543" y="318455"/>
                    <a:pt x="156368" y="317339"/>
                  </a:cubicBezTo>
                  <a:cubicBezTo>
                    <a:pt x="163330" y="316781"/>
                    <a:pt x="170293" y="315944"/>
                    <a:pt x="177256" y="314827"/>
                  </a:cubicBezTo>
                  <a:cubicBezTo>
                    <a:pt x="219032" y="307012"/>
                    <a:pt x="240756" y="279660"/>
                    <a:pt x="243820" y="231655"/>
                  </a:cubicBezTo>
                  <a:cubicBezTo>
                    <a:pt x="247719" y="169415"/>
                    <a:pt x="244655" y="107454"/>
                    <a:pt x="245769" y="45214"/>
                  </a:cubicBezTo>
                  <a:cubicBezTo>
                    <a:pt x="245769" y="33771"/>
                    <a:pt x="245769" y="22328"/>
                    <a:pt x="245769" y="10885"/>
                  </a:cubicBezTo>
                  <a:cubicBezTo>
                    <a:pt x="245769" y="3349"/>
                    <a:pt x="248276" y="0"/>
                    <a:pt x="256074" y="279"/>
                  </a:cubicBezTo>
                  <a:cubicBezTo>
                    <a:pt x="263037" y="558"/>
                    <a:pt x="270278" y="837"/>
                    <a:pt x="277241" y="279"/>
                  </a:cubicBezTo>
                  <a:cubicBezTo>
                    <a:pt x="287546" y="-558"/>
                    <a:pt x="291723" y="3070"/>
                    <a:pt x="291445" y="13955"/>
                  </a:cubicBezTo>
                  <a:cubicBezTo>
                    <a:pt x="290888" y="34329"/>
                    <a:pt x="291445" y="54704"/>
                    <a:pt x="291445" y="75078"/>
                  </a:cubicBezTo>
                  <a:cubicBezTo>
                    <a:pt x="291445" y="120572"/>
                    <a:pt x="291445" y="166066"/>
                    <a:pt x="291445" y="211559"/>
                  </a:cubicBezTo>
                  <a:cubicBezTo>
                    <a:pt x="291445" y="234725"/>
                    <a:pt x="288660" y="257332"/>
                    <a:pt x="281697" y="279381"/>
                  </a:cubicBezTo>
                  <a:cubicBezTo>
                    <a:pt x="269721" y="317618"/>
                    <a:pt x="244377" y="341621"/>
                    <a:pt x="205942" y="351669"/>
                  </a:cubicBezTo>
                  <a:cubicBezTo>
                    <a:pt x="168065" y="361437"/>
                    <a:pt x="129909" y="361716"/>
                    <a:pt x="91754" y="353343"/>
                  </a:cubicBezTo>
                  <a:cubicBezTo>
                    <a:pt x="46635" y="343575"/>
                    <a:pt x="18505" y="315664"/>
                    <a:pt x="7365" y="270450"/>
                  </a:cubicBezTo>
                  <a:cubicBezTo>
                    <a:pt x="2631" y="251750"/>
                    <a:pt x="402" y="232492"/>
                    <a:pt x="124" y="213234"/>
                  </a:cubicBezTo>
                  <a:cubicBezTo>
                    <a:pt x="-155" y="147366"/>
                    <a:pt x="124" y="81498"/>
                    <a:pt x="124" y="15630"/>
                  </a:cubicBezTo>
                  <a:cubicBezTo>
                    <a:pt x="124" y="279"/>
                    <a:pt x="124" y="279"/>
                    <a:pt x="15721" y="0"/>
                  </a:cubicBezTo>
                  <a:cubicBezTo>
                    <a:pt x="36525" y="0"/>
                    <a:pt x="46914" y="10327"/>
                    <a:pt x="46914" y="30980"/>
                  </a:cubicBezTo>
                  <a:lnTo>
                    <a:pt x="46914" y="120851"/>
                  </a:lnTo>
                  <a:cubicBezTo>
                    <a:pt x="46914" y="120851"/>
                    <a:pt x="47192" y="120851"/>
                    <a:pt x="47471" y="120851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5" name="Freeform 3074">
              <a:extLst>
                <a:ext uri="{FF2B5EF4-FFF2-40B4-BE49-F238E27FC236}">
                  <a16:creationId xmlns:a16="http://schemas.microsoft.com/office/drawing/2014/main" id="{6A6536EF-ED6B-E26B-BC93-43FCE9E1303B}"/>
                </a:ext>
              </a:extLst>
            </p:cNvPr>
            <p:cNvSpPr/>
            <p:nvPr/>
          </p:nvSpPr>
          <p:spPr>
            <a:xfrm>
              <a:off x="14526919" y="-669694"/>
              <a:ext cx="372100" cy="234378"/>
            </a:xfrm>
            <a:custGeom>
              <a:avLst/>
              <a:gdLst>
                <a:gd name="connsiteX0" fmla="*/ 108774 w 372100"/>
                <a:gd name="connsiteY0" fmla="*/ 180498 h 234378"/>
                <a:gd name="connsiteX1" fmla="*/ 115459 w 372100"/>
                <a:gd name="connsiteY1" fmla="*/ 159845 h 234378"/>
                <a:gd name="connsiteX2" fmla="*/ 156678 w 372100"/>
                <a:gd name="connsiteY2" fmla="*/ 14712 h 234378"/>
                <a:gd name="connsiteX3" fmla="*/ 175895 w 372100"/>
                <a:gd name="connsiteY3" fmla="*/ 198 h 234378"/>
                <a:gd name="connsiteX4" fmla="*/ 215722 w 372100"/>
                <a:gd name="connsiteY4" fmla="*/ 29783 h 234378"/>
                <a:gd name="connsiteX5" fmla="*/ 258613 w 372100"/>
                <a:gd name="connsiteY5" fmla="*/ 172125 h 234378"/>
                <a:gd name="connsiteX6" fmla="*/ 262233 w 372100"/>
                <a:gd name="connsiteY6" fmla="*/ 183568 h 234378"/>
                <a:gd name="connsiteX7" fmla="*/ 268639 w 372100"/>
                <a:gd name="connsiteY7" fmla="*/ 171567 h 234378"/>
                <a:gd name="connsiteX8" fmla="*/ 322948 w 372100"/>
                <a:gd name="connsiteY8" fmla="*/ 17782 h 234378"/>
                <a:gd name="connsiteX9" fmla="*/ 347178 w 372100"/>
                <a:gd name="connsiteY9" fmla="*/ 478 h 234378"/>
                <a:gd name="connsiteX10" fmla="*/ 365839 w 372100"/>
                <a:gd name="connsiteY10" fmla="*/ 26992 h 234378"/>
                <a:gd name="connsiteX11" fmla="*/ 290363 w 372100"/>
                <a:gd name="connsiteY11" fmla="*/ 221526 h 234378"/>
                <a:gd name="connsiteX12" fmla="*/ 271703 w 372100"/>
                <a:gd name="connsiteY12" fmla="*/ 234365 h 234378"/>
                <a:gd name="connsiteX13" fmla="*/ 231040 w 372100"/>
                <a:gd name="connsiteY13" fmla="*/ 204222 h 234378"/>
                <a:gd name="connsiteX14" fmla="*/ 185365 w 372100"/>
                <a:gd name="connsiteY14" fmla="*/ 56856 h 234378"/>
                <a:gd name="connsiteX15" fmla="*/ 179794 w 372100"/>
                <a:gd name="connsiteY15" fmla="*/ 70253 h 234378"/>
                <a:gd name="connsiteX16" fmla="*/ 135233 w 372100"/>
                <a:gd name="connsiteY16" fmla="*/ 221247 h 234378"/>
                <a:gd name="connsiteX17" fmla="*/ 118244 w 372100"/>
                <a:gd name="connsiteY17" fmla="*/ 234086 h 234378"/>
                <a:gd name="connsiteX18" fmla="*/ 73961 w 372100"/>
                <a:gd name="connsiteY18" fmla="*/ 202827 h 234378"/>
                <a:gd name="connsiteX19" fmla="*/ 2662 w 372100"/>
                <a:gd name="connsiteY19" fmla="*/ 13875 h 234378"/>
                <a:gd name="connsiteX20" fmla="*/ 11296 w 372100"/>
                <a:gd name="connsiteY20" fmla="*/ 198 h 234378"/>
                <a:gd name="connsiteX21" fmla="*/ 51123 w 372100"/>
                <a:gd name="connsiteY21" fmla="*/ 27830 h 234378"/>
                <a:gd name="connsiteX22" fmla="*/ 103204 w 372100"/>
                <a:gd name="connsiteY22" fmla="*/ 171846 h 234378"/>
                <a:gd name="connsiteX23" fmla="*/ 109053 w 372100"/>
                <a:gd name="connsiteY23" fmla="*/ 180498 h 2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72100" h="234378">
                  <a:moveTo>
                    <a:pt x="108774" y="180498"/>
                  </a:moveTo>
                  <a:cubicBezTo>
                    <a:pt x="111003" y="173521"/>
                    <a:pt x="113509" y="166543"/>
                    <a:pt x="115459" y="159845"/>
                  </a:cubicBezTo>
                  <a:cubicBezTo>
                    <a:pt x="129384" y="111560"/>
                    <a:pt x="143310" y="63276"/>
                    <a:pt x="156678" y="14712"/>
                  </a:cubicBezTo>
                  <a:cubicBezTo>
                    <a:pt x="159742" y="3827"/>
                    <a:pt x="164476" y="-81"/>
                    <a:pt x="175895" y="198"/>
                  </a:cubicBezTo>
                  <a:cubicBezTo>
                    <a:pt x="214051" y="1594"/>
                    <a:pt x="204860" y="-5384"/>
                    <a:pt x="215722" y="29783"/>
                  </a:cubicBezTo>
                  <a:cubicBezTo>
                    <a:pt x="230483" y="77231"/>
                    <a:pt x="244408" y="124678"/>
                    <a:pt x="258613" y="172125"/>
                  </a:cubicBezTo>
                  <a:cubicBezTo>
                    <a:pt x="259727" y="175475"/>
                    <a:pt x="260841" y="179103"/>
                    <a:pt x="262233" y="183568"/>
                  </a:cubicBezTo>
                  <a:cubicBezTo>
                    <a:pt x="266968" y="179940"/>
                    <a:pt x="267246" y="175475"/>
                    <a:pt x="268639" y="171567"/>
                  </a:cubicBezTo>
                  <a:cubicBezTo>
                    <a:pt x="286742" y="120212"/>
                    <a:pt x="304845" y="69137"/>
                    <a:pt x="322948" y="17782"/>
                  </a:cubicBezTo>
                  <a:cubicBezTo>
                    <a:pt x="329076" y="478"/>
                    <a:pt x="329076" y="478"/>
                    <a:pt x="347178" y="478"/>
                  </a:cubicBezTo>
                  <a:cubicBezTo>
                    <a:pt x="376144" y="478"/>
                    <a:pt x="376144" y="478"/>
                    <a:pt x="365839" y="26992"/>
                  </a:cubicBezTo>
                  <a:cubicBezTo>
                    <a:pt x="340495" y="91744"/>
                    <a:pt x="315428" y="156496"/>
                    <a:pt x="290363" y="221526"/>
                  </a:cubicBezTo>
                  <a:cubicBezTo>
                    <a:pt x="286742" y="230737"/>
                    <a:pt x="282007" y="234644"/>
                    <a:pt x="271703" y="234365"/>
                  </a:cubicBezTo>
                  <a:cubicBezTo>
                    <a:pt x="240509" y="233807"/>
                    <a:pt x="240231" y="234365"/>
                    <a:pt x="231040" y="204222"/>
                  </a:cubicBezTo>
                  <a:cubicBezTo>
                    <a:pt x="215722" y="155658"/>
                    <a:pt x="200683" y="106815"/>
                    <a:pt x="185365" y="56856"/>
                  </a:cubicBezTo>
                  <a:cubicBezTo>
                    <a:pt x="181465" y="61322"/>
                    <a:pt x="181187" y="66067"/>
                    <a:pt x="179794" y="70253"/>
                  </a:cubicBezTo>
                  <a:cubicBezTo>
                    <a:pt x="164755" y="120492"/>
                    <a:pt x="149715" y="171009"/>
                    <a:pt x="135233" y="221247"/>
                  </a:cubicBezTo>
                  <a:cubicBezTo>
                    <a:pt x="132448" y="230458"/>
                    <a:pt x="128270" y="234365"/>
                    <a:pt x="118244" y="234086"/>
                  </a:cubicBezTo>
                  <a:cubicBezTo>
                    <a:pt x="77303" y="232691"/>
                    <a:pt x="88443" y="240505"/>
                    <a:pt x="73961" y="202827"/>
                  </a:cubicBezTo>
                  <a:cubicBezTo>
                    <a:pt x="49731" y="140029"/>
                    <a:pt x="26336" y="76951"/>
                    <a:pt x="2662" y="13875"/>
                  </a:cubicBezTo>
                  <a:cubicBezTo>
                    <a:pt x="-2072" y="1594"/>
                    <a:pt x="-1237" y="-81"/>
                    <a:pt x="11296" y="198"/>
                  </a:cubicBezTo>
                  <a:cubicBezTo>
                    <a:pt x="48616" y="478"/>
                    <a:pt x="38869" y="-5104"/>
                    <a:pt x="51123" y="27830"/>
                  </a:cubicBezTo>
                  <a:cubicBezTo>
                    <a:pt x="68948" y="75556"/>
                    <a:pt x="85937" y="123841"/>
                    <a:pt x="103204" y="171846"/>
                  </a:cubicBezTo>
                  <a:cubicBezTo>
                    <a:pt x="104318" y="174637"/>
                    <a:pt x="104318" y="178545"/>
                    <a:pt x="109053" y="180498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7" name="Freeform 3076">
              <a:extLst>
                <a:ext uri="{FF2B5EF4-FFF2-40B4-BE49-F238E27FC236}">
                  <a16:creationId xmlns:a16="http://schemas.microsoft.com/office/drawing/2014/main" id="{52641E5A-5DC0-5CED-1DF0-4EF1A94C92D4}"/>
                </a:ext>
              </a:extLst>
            </p:cNvPr>
            <p:cNvSpPr/>
            <p:nvPr/>
          </p:nvSpPr>
          <p:spPr>
            <a:xfrm>
              <a:off x="15255655" y="-812340"/>
              <a:ext cx="270138" cy="376194"/>
            </a:xfrm>
            <a:custGeom>
              <a:avLst/>
              <a:gdLst>
                <a:gd name="connsiteX0" fmla="*/ 0 w 270138"/>
                <a:gd name="connsiteY0" fmla="*/ 192524 h 376194"/>
                <a:gd name="connsiteX1" fmla="*/ 0 w 270138"/>
                <a:gd name="connsiteY1" fmla="*/ 29249 h 376194"/>
                <a:gd name="connsiteX2" fmla="*/ 16711 w 270138"/>
                <a:gd name="connsiteY2" fmla="*/ 6363 h 376194"/>
                <a:gd name="connsiteX3" fmla="*/ 32586 w 270138"/>
                <a:gd name="connsiteY3" fmla="*/ 1060 h 376194"/>
                <a:gd name="connsiteX4" fmla="*/ 42612 w 270138"/>
                <a:gd name="connsiteY4" fmla="*/ 8596 h 376194"/>
                <a:gd name="connsiteX5" fmla="*/ 42612 w 270138"/>
                <a:gd name="connsiteY5" fmla="*/ 48507 h 376194"/>
                <a:gd name="connsiteX6" fmla="*/ 42612 w 270138"/>
                <a:gd name="connsiteY6" fmla="*/ 151775 h 376194"/>
                <a:gd name="connsiteX7" fmla="*/ 44840 w 270138"/>
                <a:gd name="connsiteY7" fmla="*/ 164056 h 376194"/>
                <a:gd name="connsiteX8" fmla="*/ 54866 w 270138"/>
                <a:gd name="connsiteY8" fmla="*/ 158474 h 376194"/>
                <a:gd name="connsiteX9" fmla="*/ 152902 w 270138"/>
                <a:gd name="connsiteY9" fmla="*/ 133634 h 376194"/>
                <a:gd name="connsiteX10" fmla="*/ 216124 w 270138"/>
                <a:gd name="connsiteY10" fmla="*/ 203409 h 376194"/>
                <a:gd name="connsiteX11" fmla="*/ 217795 w 270138"/>
                <a:gd name="connsiteY11" fmla="*/ 319795 h 376194"/>
                <a:gd name="connsiteX12" fmla="*/ 245924 w 270138"/>
                <a:gd name="connsiteY12" fmla="*/ 340169 h 376194"/>
                <a:gd name="connsiteX13" fmla="*/ 254279 w 270138"/>
                <a:gd name="connsiteY13" fmla="*/ 337378 h 376194"/>
                <a:gd name="connsiteX14" fmla="*/ 265977 w 270138"/>
                <a:gd name="connsiteY14" fmla="*/ 343239 h 376194"/>
                <a:gd name="connsiteX15" fmla="*/ 254836 w 270138"/>
                <a:gd name="connsiteY15" fmla="*/ 368917 h 376194"/>
                <a:gd name="connsiteX16" fmla="*/ 214731 w 270138"/>
                <a:gd name="connsiteY16" fmla="*/ 376173 h 376194"/>
                <a:gd name="connsiteX17" fmla="*/ 175461 w 270138"/>
                <a:gd name="connsiteY17" fmla="*/ 337099 h 376194"/>
                <a:gd name="connsiteX18" fmla="*/ 175461 w 270138"/>
                <a:gd name="connsiteY18" fmla="*/ 227133 h 376194"/>
                <a:gd name="connsiteX19" fmla="*/ 171284 w 270138"/>
                <a:gd name="connsiteY19" fmla="*/ 197548 h 376194"/>
                <a:gd name="connsiteX20" fmla="*/ 137584 w 270138"/>
                <a:gd name="connsiteY20" fmla="*/ 169638 h 376194"/>
                <a:gd name="connsiteX21" fmla="*/ 47904 w 270138"/>
                <a:gd name="connsiteY21" fmla="*/ 199223 h 376194"/>
                <a:gd name="connsiteX22" fmla="*/ 42612 w 270138"/>
                <a:gd name="connsiteY22" fmla="*/ 215410 h 376194"/>
                <a:gd name="connsiteX23" fmla="*/ 42612 w 270138"/>
                <a:gd name="connsiteY23" fmla="*/ 357473 h 376194"/>
                <a:gd name="connsiteX24" fmla="*/ 26737 w 270138"/>
                <a:gd name="connsiteY24" fmla="*/ 373661 h 376194"/>
                <a:gd name="connsiteX25" fmla="*/ 279 w 270138"/>
                <a:gd name="connsiteY25" fmla="*/ 347147 h 376194"/>
                <a:gd name="connsiteX26" fmla="*/ 279 w 270138"/>
                <a:gd name="connsiteY26" fmla="*/ 191687 h 37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0138" h="376194">
                  <a:moveTo>
                    <a:pt x="0" y="192524"/>
                  </a:moveTo>
                  <a:cubicBezTo>
                    <a:pt x="0" y="138099"/>
                    <a:pt x="0" y="83674"/>
                    <a:pt x="0" y="29249"/>
                  </a:cubicBezTo>
                  <a:cubicBezTo>
                    <a:pt x="0" y="17340"/>
                    <a:pt x="5571" y="9712"/>
                    <a:pt x="16711" y="6363"/>
                  </a:cubicBezTo>
                  <a:cubicBezTo>
                    <a:pt x="22002" y="4688"/>
                    <a:pt x="27294" y="3014"/>
                    <a:pt x="32586" y="1060"/>
                  </a:cubicBezTo>
                  <a:cubicBezTo>
                    <a:pt x="40105" y="-1731"/>
                    <a:pt x="42891" y="1060"/>
                    <a:pt x="42612" y="8596"/>
                  </a:cubicBezTo>
                  <a:cubicBezTo>
                    <a:pt x="42612" y="21993"/>
                    <a:pt x="42612" y="35111"/>
                    <a:pt x="42612" y="48507"/>
                  </a:cubicBezTo>
                  <a:cubicBezTo>
                    <a:pt x="42612" y="82837"/>
                    <a:pt x="42612" y="117446"/>
                    <a:pt x="42612" y="151775"/>
                  </a:cubicBezTo>
                  <a:cubicBezTo>
                    <a:pt x="42612" y="155962"/>
                    <a:pt x="40384" y="161823"/>
                    <a:pt x="44840" y="164056"/>
                  </a:cubicBezTo>
                  <a:cubicBezTo>
                    <a:pt x="48739" y="166009"/>
                    <a:pt x="51803" y="160706"/>
                    <a:pt x="54866" y="158474"/>
                  </a:cubicBezTo>
                  <a:cubicBezTo>
                    <a:pt x="84389" y="137262"/>
                    <a:pt x="116417" y="126935"/>
                    <a:pt x="152902" y="133634"/>
                  </a:cubicBezTo>
                  <a:cubicBezTo>
                    <a:pt x="189387" y="140332"/>
                    <a:pt x="212782" y="166009"/>
                    <a:pt x="216124" y="203409"/>
                  </a:cubicBezTo>
                  <a:cubicBezTo>
                    <a:pt x="219744" y="242204"/>
                    <a:pt x="217238" y="281000"/>
                    <a:pt x="217795" y="319795"/>
                  </a:cubicBezTo>
                  <a:cubicBezTo>
                    <a:pt x="218073" y="343239"/>
                    <a:pt x="223086" y="347147"/>
                    <a:pt x="245924" y="340169"/>
                  </a:cubicBezTo>
                  <a:cubicBezTo>
                    <a:pt x="248709" y="339332"/>
                    <a:pt x="251773" y="338495"/>
                    <a:pt x="254279" y="337378"/>
                  </a:cubicBezTo>
                  <a:cubicBezTo>
                    <a:pt x="260685" y="334587"/>
                    <a:pt x="263470" y="337378"/>
                    <a:pt x="265977" y="343239"/>
                  </a:cubicBezTo>
                  <a:cubicBezTo>
                    <a:pt x="272939" y="360544"/>
                    <a:pt x="272383" y="362218"/>
                    <a:pt x="254836" y="368917"/>
                  </a:cubicBezTo>
                  <a:cubicBezTo>
                    <a:pt x="242025" y="373940"/>
                    <a:pt x="228657" y="376452"/>
                    <a:pt x="214731" y="376173"/>
                  </a:cubicBezTo>
                  <a:cubicBezTo>
                    <a:pt x="188830" y="375894"/>
                    <a:pt x="175740" y="363055"/>
                    <a:pt x="175461" y="337099"/>
                  </a:cubicBezTo>
                  <a:cubicBezTo>
                    <a:pt x="175183" y="300537"/>
                    <a:pt x="175461" y="263695"/>
                    <a:pt x="175461" y="227133"/>
                  </a:cubicBezTo>
                  <a:cubicBezTo>
                    <a:pt x="175461" y="217085"/>
                    <a:pt x="174347" y="207317"/>
                    <a:pt x="171284" y="197548"/>
                  </a:cubicBezTo>
                  <a:cubicBezTo>
                    <a:pt x="166270" y="180802"/>
                    <a:pt x="154295" y="171871"/>
                    <a:pt x="137584" y="169638"/>
                  </a:cubicBezTo>
                  <a:cubicBezTo>
                    <a:pt x="103049" y="165451"/>
                    <a:pt x="73527" y="176615"/>
                    <a:pt x="47904" y="199223"/>
                  </a:cubicBezTo>
                  <a:cubicBezTo>
                    <a:pt x="42612" y="203688"/>
                    <a:pt x="42612" y="209270"/>
                    <a:pt x="42612" y="215410"/>
                  </a:cubicBezTo>
                  <a:cubicBezTo>
                    <a:pt x="42612" y="262858"/>
                    <a:pt x="42612" y="310026"/>
                    <a:pt x="42612" y="357473"/>
                  </a:cubicBezTo>
                  <a:cubicBezTo>
                    <a:pt x="42612" y="373661"/>
                    <a:pt x="42612" y="373940"/>
                    <a:pt x="26737" y="373661"/>
                  </a:cubicBezTo>
                  <a:cubicBezTo>
                    <a:pt x="-3620" y="373661"/>
                    <a:pt x="279" y="377290"/>
                    <a:pt x="279" y="347147"/>
                  </a:cubicBezTo>
                  <a:cubicBezTo>
                    <a:pt x="279" y="295234"/>
                    <a:pt x="279" y="243600"/>
                    <a:pt x="279" y="191687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8" name="Freeform 3077">
              <a:extLst>
                <a:ext uri="{FF2B5EF4-FFF2-40B4-BE49-F238E27FC236}">
                  <a16:creationId xmlns:a16="http://schemas.microsoft.com/office/drawing/2014/main" id="{39171AEB-FFD0-06A8-9185-F6C9F1C5C2BF}"/>
                </a:ext>
              </a:extLst>
            </p:cNvPr>
            <p:cNvSpPr/>
            <p:nvPr/>
          </p:nvSpPr>
          <p:spPr>
            <a:xfrm>
              <a:off x="12398244" y="-678597"/>
              <a:ext cx="233857" cy="253183"/>
            </a:xfrm>
            <a:custGeom>
              <a:avLst/>
              <a:gdLst>
                <a:gd name="connsiteX0" fmla="*/ 135259 w 233857"/>
                <a:gd name="connsiteY0" fmla="*/ 142512 h 253183"/>
                <a:gd name="connsiteX1" fmla="*/ 55327 w 233857"/>
                <a:gd name="connsiteY1" fmla="*/ 142512 h 253183"/>
                <a:gd name="connsiteX2" fmla="*/ 45579 w 233857"/>
                <a:gd name="connsiteY2" fmla="*/ 155351 h 253183"/>
                <a:gd name="connsiteX3" fmla="*/ 117713 w 233857"/>
                <a:gd name="connsiteY3" fmla="*/ 213683 h 253183"/>
                <a:gd name="connsiteX4" fmla="*/ 201545 w 233857"/>
                <a:gd name="connsiteY4" fmla="*/ 191076 h 253183"/>
                <a:gd name="connsiteX5" fmla="*/ 213521 w 233857"/>
                <a:gd name="connsiteY5" fmla="*/ 195262 h 253183"/>
                <a:gd name="connsiteX6" fmla="*/ 202659 w 233857"/>
                <a:gd name="connsiteY6" fmla="*/ 230708 h 253183"/>
                <a:gd name="connsiteX7" fmla="*/ 66746 w 233857"/>
                <a:gd name="connsiteY7" fmla="*/ 240477 h 253183"/>
                <a:gd name="connsiteX8" fmla="*/ 739 w 233857"/>
                <a:gd name="connsiteY8" fmla="*/ 112648 h 253183"/>
                <a:gd name="connsiteX9" fmla="*/ 8259 w 233857"/>
                <a:gd name="connsiteY9" fmla="*/ 76923 h 253183"/>
                <a:gd name="connsiteX10" fmla="*/ 110194 w 233857"/>
                <a:gd name="connsiteY10" fmla="*/ 449 h 253183"/>
                <a:gd name="connsiteX11" fmla="*/ 178428 w 233857"/>
                <a:gd name="connsiteY11" fmla="*/ 11334 h 253183"/>
                <a:gd name="connsiteX12" fmla="*/ 231067 w 233857"/>
                <a:gd name="connsiteY12" fmla="*/ 134697 h 253183"/>
                <a:gd name="connsiteX13" fmla="*/ 217420 w 233857"/>
                <a:gd name="connsiteY13" fmla="*/ 142791 h 253183"/>
                <a:gd name="connsiteX14" fmla="*/ 135259 w 233857"/>
                <a:gd name="connsiteY14" fmla="*/ 142791 h 253183"/>
                <a:gd name="connsiteX15" fmla="*/ 117713 w 233857"/>
                <a:gd name="connsiteY15" fmla="*/ 108740 h 253183"/>
                <a:gd name="connsiteX16" fmla="*/ 182049 w 233857"/>
                <a:gd name="connsiteY16" fmla="*/ 108740 h 253183"/>
                <a:gd name="connsiteX17" fmla="*/ 192911 w 233857"/>
                <a:gd name="connsiteY17" fmla="*/ 97855 h 253183"/>
                <a:gd name="connsiteX18" fmla="*/ 177036 w 233857"/>
                <a:gd name="connsiteY18" fmla="*/ 58502 h 253183"/>
                <a:gd name="connsiteX19" fmla="*/ 119663 w 233857"/>
                <a:gd name="connsiteY19" fmla="*/ 38128 h 253183"/>
                <a:gd name="connsiteX20" fmla="*/ 45301 w 233857"/>
                <a:gd name="connsiteY20" fmla="*/ 96460 h 253183"/>
                <a:gd name="connsiteX21" fmla="*/ 54492 w 233857"/>
                <a:gd name="connsiteY21" fmla="*/ 108740 h 253183"/>
                <a:gd name="connsiteX22" fmla="*/ 117713 w 233857"/>
                <a:gd name="connsiteY22" fmla="*/ 108740 h 25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3857" h="253183">
                  <a:moveTo>
                    <a:pt x="135259" y="142512"/>
                  </a:moveTo>
                  <a:cubicBezTo>
                    <a:pt x="108523" y="142512"/>
                    <a:pt x="82064" y="142512"/>
                    <a:pt x="55327" y="142512"/>
                  </a:cubicBezTo>
                  <a:cubicBezTo>
                    <a:pt x="43351" y="142512"/>
                    <a:pt x="42516" y="143907"/>
                    <a:pt x="45579" y="155351"/>
                  </a:cubicBezTo>
                  <a:cubicBezTo>
                    <a:pt x="54492" y="189959"/>
                    <a:pt x="82064" y="211729"/>
                    <a:pt x="117713" y="213683"/>
                  </a:cubicBezTo>
                  <a:cubicBezTo>
                    <a:pt x="148349" y="215357"/>
                    <a:pt x="176479" y="208659"/>
                    <a:pt x="201545" y="191076"/>
                  </a:cubicBezTo>
                  <a:cubicBezTo>
                    <a:pt x="208229" y="186331"/>
                    <a:pt x="210735" y="188285"/>
                    <a:pt x="213521" y="195262"/>
                  </a:cubicBezTo>
                  <a:cubicBezTo>
                    <a:pt x="222433" y="217311"/>
                    <a:pt x="222433" y="218428"/>
                    <a:pt x="202659" y="230708"/>
                  </a:cubicBezTo>
                  <a:cubicBezTo>
                    <a:pt x="159211" y="257223"/>
                    <a:pt x="113257" y="260014"/>
                    <a:pt x="66746" y="240477"/>
                  </a:cubicBezTo>
                  <a:cubicBezTo>
                    <a:pt x="13551" y="218149"/>
                    <a:pt x="-3995" y="161212"/>
                    <a:pt x="739" y="112648"/>
                  </a:cubicBezTo>
                  <a:cubicBezTo>
                    <a:pt x="1853" y="100646"/>
                    <a:pt x="4081" y="88645"/>
                    <a:pt x="8259" y="76923"/>
                  </a:cubicBezTo>
                  <a:cubicBezTo>
                    <a:pt x="23856" y="32266"/>
                    <a:pt x="62847" y="2961"/>
                    <a:pt x="110194" y="449"/>
                  </a:cubicBezTo>
                  <a:cubicBezTo>
                    <a:pt x="133588" y="-947"/>
                    <a:pt x="156705" y="449"/>
                    <a:pt x="178428" y="11334"/>
                  </a:cubicBezTo>
                  <a:cubicBezTo>
                    <a:pt x="222990" y="33104"/>
                    <a:pt x="241371" y="90041"/>
                    <a:pt x="231067" y="134697"/>
                  </a:cubicBezTo>
                  <a:cubicBezTo>
                    <a:pt x="229396" y="142512"/>
                    <a:pt x="223547" y="142791"/>
                    <a:pt x="217420" y="142791"/>
                  </a:cubicBezTo>
                  <a:cubicBezTo>
                    <a:pt x="190126" y="142791"/>
                    <a:pt x="162832" y="142791"/>
                    <a:pt x="135259" y="142791"/>
                  </a:cubicBezTo>
                  <a:close/>
                  <a:moveTo>
                    <a:pt x="117713" y="108740"/>
                  </a:moveTo>
                  <a:cubicBezTo>
                    <a:pt x="139159" y="108740"/>
                    <a:pt x="160604" y="108740"/>
                    <a:pt x="182049" y="108740"/>
                  </a:cubicBezTo>
                  <a:cubicBezTo>
                    <a:pt x="190126" y="108740"/>
                    <a:pt x="193746" y="106229"/>
                    <a:pt x="192911" y="97855"/>
                  </a:cubicBezTo>
                  <a:cubicBezTo>
                    <a:pt x="191518" y="83063"/>
                    <a:pt x="187341" y="69945"/>
                    <a:pt x="177036" y="58502"/>
                  </a:cubicBezTo>
                  <a:cubicBezTo>
                    <a:pt x="161439" y="41198"/>
                    <a:pt x="141665" y="37290"/>
                    <a:pt x="119663" y="38128"/>
                  </a:cubicBezTo>
                  <a:cubicBezTo>
                    <a:pt x="82064" y="39523"/>
                    <a:pt x="55049" y="60735"/>
                    <a:pt x="45301" y="96460"/>
                  </a:cubicBezTo>
                  <a:cubicBezTo>
                    <a:pt x="42794" y="105391"/>
                    <a:pt x="43908" y="109299"/>
                    <a:pt x="54492" y="108740"/>
                  </a:cubicBezTo>
                  <a:cubicBezTo>
                    <a:pt x="75658" y="108182"/>
                    <a:pt x="96547" y="108740"/>
                    <a:pt x="117713" y="108740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9" name="Freeform 3078">
              <a:extLst>
                <a:ext uri="{FF2B5EF4-FFF2-40B4-BE49-F238E27FC236}">
                  <a16:creationId xmlns:a16="http://schemas.microsoft.com/office/drawing/2014/main" id="{5D0A551A-0268-8865-6900-431E7140EBFA}"/>
                </a:ext>
              </a:extLst>
            </p:cNvPr>
            <p:cNvSpPr/>
            <p:nvPr/>
          </p:nvSpPr>
          <p:spPr>
            <a:xfrm>
              <a:off x="12937295" y="-679021"/>
              <a:ext cx="233103" cy="253863"/>
            </a:xfrm>
            <a:custGeom>
              <a:avLst/>
              <a:gdLst>
                <a:gd name="connsiteX0" fmla="*/ 134845 w 233103"/>
                <a:gd name="connsiteY0" fmla="*/ 142936 h 253863"/>
                <a:gd name="connsiteX1" fmla="*/ 54913 w 233103"/>
                <a:gd name="connsiteY1" fmla="*/ 142936 h 253863"/>
                <a:gd name="connsiteX2" fmla="*/ 44887 w 233103"/>
                <a:gd name="connsiteY2" fmla="*/ 154937 h 253863"/>
                <a:gd name="connsiteX3" fmla="*/ 114236 w 233103"/>
                <a:gd name="connsiteY3" fmla="*/ 214107 h 253863"/>
                <a:gd name="connsiteX4" fmla="*/ 201409 w 233103"/>
                <a:gd name="connsiteY4" fmla="*/ 191500 h 253863"/>
                <a:gd name="connsiteX5" fmla="*/ 213107 w 233103"/>
                <a:gd name="connsiteY5" fmla="*/ 194570 h 253863"/>
                <a:gd name="connsiteX6" fmla="*/ 201409 w 233103"/>
                <a:gd name="connsiteY6" fmla="*/ 231690 h 253863"/>
                <a:gd name="connsiteX7" fmla="*/ 55749 w 233103"/>
                <a:gd name="connsiteY7" fmla="*/ 235319 h 253863"/>
                <a:gd name="connsiteX8" fmla="*/ 1161 w 233103"/>
                <a:gd name="connsiteY8" fmla="*/ 146285 h 253863"/>
                <a:gd name="connsiteX9" fmla="*/ 39038 w 233103"/>
                <a:gd name="connsiteY9" fmla="*/ 29341 h 253863"/>
                <a:gd name="connsiteX10" fmla="*/ 204473 w 233103"/>
                <a:gd name="connsiteY10" fmla="*/ 33249 h 253863"/>
                <a:gd name="connsiteX11" fmla="*/ 230931 w 233103"/>
                <a:gd name="connsiteY11" fmla="*/ 129260 h 253863"/>
                <a:gd name="connsiteX12" fmla="*/ 213664 w 233103"/>
                <a:gd name="connsiteY12" fmla="*/ 143494 h 253863"/>
                <a:gd name="connsiteX13" fmla="*/ 134845 w 233103"/>
                <a:gd name="connsiteY13" fmla="*/ 143494 h 253863"/>
                <a:gd name="connsiteX14" fmla="*/ 117299 w 233103"/>
                <a:gd name="connsiteY14" fmla="*/ 109165 h 253863"/>
                <a:gd name="connsiteX15" fmla="*/ 182749 w 233103"/>
                <a:gd name="connsiteY15" fmla="*/ 109165 h 253863"/>
                <a:gd name="connsiteX16" fmla="*/ 192776 w 233103"/>
                <a:gd name="connsiteY16" fmla="*/ 98559 h 253863"/>
                <a:gd name="connsiteX17" fmla="*/ 160468 w 233103"/>
                <a:gd name="connsiteY17" fmla="*/ 46088 h 253863"/>
                <a:gd name="connsiteX18" fmla="*/ 44887 w 233103"/>
                <a:gd name="connsiteY18" fmla="*/ 97721 h 253863"/>
                <a:gd name="connsiteX19" fmla="*/ 54356 w 233103"/>
                <a:gd name="connsiteY19" fmla="*/ 109165 h 253863"/>
                <a:gd name="connsiteX20" fmla="*/ 117578 w 233103"/>
                <a:gd name="connsiteY20" fmla="*/ 109165 h 25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3103" h="253863">
                  <a:moveTo>
                    <a:pt x="134845" y="142936"/>
                  </a:moveTo>
                  <a:cubicBezTo>
                    <a:pt x="108109" y="142936"/>
                    <a:pt x="81650" y="143215"/>
                    <a:pt x="54913" y="142936"/>
                  </a:cubicBezTo>
                  <a:cubicBezTo>
                    <a:pt x="45444" y="142936"/>
                    <a:pt x="42381" y="145169"/>
                    <a:pt x="44887" y="154937"/>
                  </a:cubicBezTo>
                  <a:cubicBezTo>
                    <a:pt x="52407" y="187313"/>
                    <a:pt x="81093" y="211595"/>
                    <a:pt x="114236" y="214107"/>
                  </a:cubicBezTo>
                  <a:cubicBezTo>
                    <a:pt x="145986" y="216340"/>
                    <a:pt x="175229" y="210200"/>
                    <a:pt x="201409" y="191500"/>
                  </a:cubicBezTo>
                  <a:cubicBezTo>
                    <a:pt x="206979" y="187592"/>
                    <a:pt x="210043" y="187871"/>
                    <a:pt x="213107" y="194570"/>
                  </a:cubicBezTo>
                  <a:cubicBezTo>
                    <a:pt x="222576" y="216619"/>
                    <a:pt x="222576" y="219410"/>
                    <a:pt x="201409" y="231690"/>
                  </a:cubicBezTo>
                  <a:cubicBezTo>
                    <a:pt x="153784" y="259601"/>
                    <a:pt x="104209" y="261554"/>
                    <a:pt x="55749" y="235319"/>
                  </a:cubicBezTo>
                  <a:cubicBezTo>
                    <a:pt x="21214" y="216619"/>
                    <a:pt x="5060" y="184243"/>
                    <a:pt x="1161" y="146285"/>
                  </a:cubicBezTo>
                  <a:cubicBezTo>
                    <a:pt x="-3574" y="101908"/>
                    <a:pt x="5617" y="61717"/>
                    <a:pt x="39038" y="29341"/>
                  </a:cubicBezTo>
                  <a:cubicBezTo>
                    <a:pt x="77751" y="-8058"/>
                    <a:pt x="165760" y="-12803"/>
                    <a:pt x="204473" y="33249"/>
                  </a:cubicBezTo>
                  <a:cubicBezTo>
                    <a:pt x="227868" y="60880"/>
                    <a:pt x="237894" y="92698"/>
                    <a:pt x="230931" y="129260"/>
                  </a:cubicBezTo>
                  <a:cubicBezTo>
                    <a:pt x="228982" y="139028"/>
                    <a:pt x="224526" y="143773"/>
                    <a:pt x="213664" y="143494"/>
                  </a:cubicBezTo>
                  <a:cubicBezTo>
                    <a:pt x="187484" y="142936"/>
                    <a:pt x="161304" y="143494"/>
                    <a:pt x="134845" y="143494"/>
                  </a:cubicBezTo>
                  <a:close/>
                  <a:moveTo>
                    <a:pt x="117299" y="109165"/>
                  </a:moveTo>
                  <a:cubicBezTo>
                    <a:pt x="139023" y="109165"/>
                    <a:pt x="161025" y="109165"/>
                    <a:pt x="182749" y="109165"/>
                  </a:cubicBezTo>
                  <a:cubicBezTo>
                    <a:pt x="190547" y="109165"/>
                    <a:pt x="193611" y="106094"/>
                    <a:pt x="192776" y="98559"/>
                  </a:cubicBezTo>
                  <a:cubicBezTo>
                    <a:pt x="190269" y="75952"/>
                    <a:pt x="181078" y="57252"/>
                    <a:pt x="160468" y="46088"/>
                  </a:cubicBezTo>
                  <a:cubicBezTo>
                    <a:pt x="115072" y="21806"/>
                    <a:pt x="57420" y="47762"/>
                    <a:pt x="44887" y="97721"/>
                  </a:cubicBezTo>
                  <a:cubicBezTo>
                    <a:pt x="42381" y="107211"/>
                    <a:pt x="45444" y="109444"/>
                    <a:pt x="54356" y="109165"/>
                  </a:cubicBezTo>
                  <a:cubicBezTo>
                    <a:pt x="75523" y="108886"/>
                    <a:pt x="96411" y="109165"/>
                    <a:pt x="117578" y="109165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0" name="Freeform 3079">
              <a:extLst>
                <a:ext uri="{FF2B5EF4-FFF2-40B4-BE49-F238E27FC236}">
                  <a16:creationId xmlns:a16="http://schemas.microsoft.com/office/drawing/2014/main" id="{3FE36C8B-D3C7-DA49-9514-F2A4064A3AF0}"/>
                </a:ext>
              </a:extLst>
            </p:cNvPr>
            <p:cNvSpPr/>
            <p:nvPr/>
          </p:nvSpPr>
          <p:spPr>
            <a:xfrm>
              <a:off x="13821754" y="-678675"/>
              <a:ext cx="263695" cy="252335"/>
            </a:xfrm>
            <a:custGeom>
              <a:avLst/>
              <a:gdLst>
                <a:gd name="connsiteX0" fmla="*/ 131869 w 263695"/>
                <a:gd name="connsiteY0" fmla="*/ 248 h 252335"/>
                <a:gd name="connsiteX1" fmla="*/ 231575 w 263695"/>
                <a:gd name="connsiteY1" fmla="*/ 39322 h 252335"/>
                <a:gd name="connsiteX2" fmla="*/ 251907 w 263695"/>
                <a:gd name="connsiteY2" fmla="*/ 181106 h 252335"/>
                <a:gd name="connsiteX3" fmla="*/ 142174 w 263695"/>
                <a:gd name="connsiteY3" fmla="*/ 251998 h 252335"/>
                <a:gd name="connsiteX4" fmla="*/ 77838 w 263695"/>
                <a:gd name="connsiteY4" fmla="*/ 243904 h 252335"/>
                <a:gd name="connsiteX5" fmla="*/ 7932 w 263695"/>
                <a:gd name="connsiteY5" fmla="*/ 173291 h 252335"/>
                <a:gd name="connsiteX6" fmla="*/ 12110 w 263695"/>
                <a:gd name="connsiteY6" fmla="*/ 69186 h 252335"/>
                <a:gd name="connsiteX7" fmla="*/ 116551 w 263695"/>
                <a:gd name="connsiteY7" fmla="*/ 248 h 252335"/>
                <a:gd name="connsiteX8" fmla="*/ 132148 w 263695"/>
                <a:gd name="connsiteY8" fmla="*/ 248 h 252335"/>
                <a:gd name="connsiteX9" fmla="*/ 132426 w 263695"/>
                <a:gd name="connsiteY9" fmla="*/ 213761 h 252335"/>
                <a:gd name="connsiteX10" fmla="*/ 182558 w 263695"/>
                <a:gd name="connsiteY10" fmla="*/ 201760 h 252335"/>
                <a:gd name="connsiteX11" fmla="*/ 220157 w 263695"/>
                <a:gd name="connsiteY11" fmla="*/ 121657 h 252335"/>
                <a:gd name="connsiteX12" fmla="*/ 170025 w 263695"/>
                <a:gd name="connsiteY12" fmla="*/ 44904 h 252335"/>
                <a:gd name="connsiteX13" fmla="*/ 68369 w 263695"/>
                <a:gd name="connsiteY13" fmla="*/ 60813 h 252335"/>
                <a:gd name="connsiteX14" fmla="*/ 49430 w 263695"/>
                <a:gd name="connsiteY14" fmla="*/ 165198 h 252335"/>
                <a:gd name="connsiteX15" fmla="*/ 132426 w 263695"/>
                <a:gd name="connsiteY15" fmla="*/ 213761 h 252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3695" h="252335">
                  <a:moveTo>
                    <a:pt x="131869" y="248"/>
                  </a:moveTo>
                  <a:cubicBezTo>
                    <a:pt x="170303" y="-31"/>
                    <a:pt x="205953" y="8900"/>
                    <a:pt x="231575" y="39322"/>
                  </a:cubicBezTo>
                  <a:cubicBezTo>
                    <a:pt x="267225" y="81746"/>
                    <a:pt x="271960" y="130868"/>
                    <a:pt x="251907" y="181106"/>
                  </a:cubicBezTo>
                  <a:cubicBezTo>
                    <a:pt x="232411" y="229391"/>
                    <a:pt x="192306" y="249486"/>
                    <a:pt x="142174" y="251998"/>
                  </a:cubicBezTo>
                  <a:cubicBezTo>
                    <a:pt x="120172" y="253115"/>
                    <a:pt x="98727" y="251719"/>
                    <a:pt x="77838" y="243904"/>
                  </a:cubicBezTo>
                  <a:cubicBezTo>
                    <a:pt x="43303" y="231345"/>
                    <a:pt x="19630" y="207900"/>
                    <a:pt x="7932" y="173291"/>
                  </a:cubicBezTo>
                  <a:cubicBezTo>
                    <a:pt x="-3765" y="138404"/>
                    <a:pt x="-2651" y="103237"/>
                    <a:pt x="12110" y="69186"/>
                  </a:cubicBezTo>
                  <a:cubicBezTo>
                    <a:pt x="31884" y="23972"/>
                    <a:pt x="69483" y="4714"/>
                    <a:pt x="116551" y="248"/>
                  </a:cubicBezTo>
                  <a:cubicBezTo>
                    <a:pt x="121564" y="-310"/>
                    <a:pt x="126856" y="248"/>
                    <a:pt x="132148" y="248"/>
                  </a:cubicBezTo>
                  <a:close/>
                  <a:moveTo>
                    <a:pt x="132426" y="213761"/>
                  </a:moveTo>
                  <a:cubicBezTo>
                    <a:pt x="148858" y="214598"/>
                    <a:pt x="166683" y="211528"/>
                    <a:pt x="182558" y="201760"/>
                  </a:cubicBezTo>
                  <a:cubicBezTo>
                    <a:pt x="212080" y="183339"/>
                    <a:pt x="221828" y="154871"/>
                    <a:pt x="220157" y="121657"/>
                  </a:cubicBezTo>
                  <a:cubicBezTo>
                    <a:pt x="218485" y="86212"/>
                    <a:pt x="204282" y="57464"/>
                    <a:pt x="170025" y="44904"/>
                  </a:cubicBezTo>
                  <a:cubicBezTo>
                    <a:pt x="134097" y="31787"/>
                    <a:pt x="98448" y="33182"/>
                    <a:pt x="68369" y="60813"/>
                  </a:cubicBezTo>
                  <a:cubicBezTo>
                    <a:pt x="42746" y="84537"/>
                    <a:pt x="35227" y="130310"/>
                    <a:pt x="49430" y="165198"/>
                  </a:cubicBezTo>
                  <a:cubicBezTo>
                    <a:pt x="62520" y="197015"/>
                    <a:pt x="90092" y="213482"/>
                    <a:pt x="132426" y="213761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1" name="Freeform 3080">
              <a:extLst>
                <a:ext uri="{FF2B5EF4-FFF2-40B4-BE49-F238E27FC236}">
                  <a16:creationId xmlns:a16="http://schemas.microsoft.com/office/drawing/2014/main" id="{93FFD09B-35B2-99AF-48B2-8AD43517260D}"/>
                </a:ext>
              </a:extLst>
            </p:cNvPr>
            <p:cNvSpPr/>
            <p:nvPr/>
          </p:nvSpPr>
          <p:spPr>
            <a:xfrm>
              <a:off x="13224751" y="-679063"/>
              <a:ext cx="270856" cy="243138"/>
            </a:xfrm>
            <a:custGeom>
              <a:avLst/>
              <a:gdLst>
                <a:gd name="connsiteX0" fmla="*/ 45410 w 270856"/>
                <a:gd name="connsiteY0" fmla="*/ 34128 h 243138"/>
                <a:gd name="connsiteX1" fmla="*/ 87465 w 270856"/>
                <a:gd name="connsiteY1" fmla="*/ 8451 h 243138"/>
                <a:gd name="connsiteX2" fmla="*/ 157092 w 270856"/>
                <a:gd name="connsiteY2" fmla="*/ 2589 h 243138"/>
                <a:gd name="connsiteX3" fmla="*/ 216693 w 270856"/>
                <a:gd name="connsiteY3" fmla="*/ 68458 h 243138"/>
                <a:gd name="connsiteX4" fmla="*/ 218365 w 270856"/>
                <a:gd name="connsiteY4" fmla="*/ 130418 h 243138"/>
                <a:gd name="connsiteX5" fmla="*/ 218365 w 270856"/>
                <a:gd name="connsiteY5" fmla="*/ 193774 h 243138"/>
                <a:gd name="connsiteX6" fmla="*/ 235910 w 270856"/>
                <a:gd name="connsiteY6" fmla="*/ 209125 h 243138"/>
                <a:gd name="connsiteX7" fmla="*/ 254014 w 270856"/>
                <a:gd name="connsiteY7" fmla="*/ 204380 h 243138"/>
                <a:gd name="connsiteX8" fmla="*/ 266547 w 270856"/>
                <a:gd name="connsiteY8" fmla="*/ 210241 h 243138"/>
                <a:gd name="connsiteX9" fmla="*/ 255406 w 270856"/>
                <a:gd name="connsiteY9" fmla="*/ 235640 h 243138"/>
                <a:gd name="connsiteX10" fmla="*/ 210845 w 270856"/>
                <a:gd name="connsiteY10" fmla="*/ 242896 h 243138"/>
                <a:gd name="connsiteX11" fmla="*/ 176867 w 270856"/>
                <a:gd name="connsiteY11" fmla="*/ 212753 h 243138"/>
                <a:gd name="connsiteX12" fmla="*/ 175474 w 270856"/>
                <a:gd name="connsiteY12" fmla="*/ 195170 h 243138"/>
                <a:gd name="connsiteX13" fmla="*/ 175474 w 270856"/>
                <a:gd name="connsiteY13" fmla="*/ 94135 h 243138"/>
                <a:gd name="connsiteX14" fmla="*/ 116708 w 270856"/>
                <a:gd name="connsiteY14" fmla="*/ 39152 h 243138"/>
                <a:gd name="connsiteX15" fmla="*/ 49031 w 270856"/>
                <a:gd name="connsiteY15" fmla="*/ 67062 h 243138"/>
                <a:gd name="connsiteX16" fmla="*/ 42625 w 270856"/>
                <a:gd name="connsiteY16" fmla="*/ 83808 h 243138"/>
                <a:gd name="connsiteX17" fmla="*/ 42625 w 270856"/>
                <a:gd name="connsiteY17" fmla="*/ 224755 h 243138"/>
                <a:gd name="connsiteX18" fmla="*/ 26472 w 270856"/>
                <a:gd name="connsiteY18" fmla="*/ 240663 h 243138"/>
                <a:gd name="connsiteX19" fmla="*/ 13 w 270856"/>
                <a:gd name="connsiteY19" fmla="*/ 213870 h 243138"/>
                <a:gd name="connsiteX20" fmla="*/ 13 w 270856"/>
                <a:gd name="connsiteY20" fmla="*/ 30779 h 243138"/>
                <a:gd name="connsiteX21" fmla="*/ 11154 w 270856"/>
                <a:gd name="connsiteY21" fmla="*/ 13474 h 243138"/>
                <a:gd name="connsiteX22" fmla="*/ 38447 w 270856"/>
                <a:gd name="connsiteY22" fmla="*/ 6776 h 243138"/>
                <a:gd name="connsiteX23" fmla="*/ 44575 w 270856"/>
                <a:gd name="connsiteY23" fmla="*/ 33849 h 2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0856" h="243138">
                  <a:moveTo>
                    <a:pt x="45410" y="34128"/>
                  </a:moveTo>
                  <a:cubicBezTo>
                    <a:pt x="58778" y="23522"/>
                    <a:pt x="72147" y="14312"/>
                    <a:pt x="87465" y="8451"/>
                  </a:cubicBezTo>
                  <a:cubicBezTo>
                    <a:pt x="110303" y="-481"/>
                    <a:pt x="133419" y="-2155"/>
                    <a:pt x="157092" y="2589"/>
                  </a:cubicBezTo>
                  <a:cubicBezTo>
                    <a:pt x="191070" y="9846"/>
                    <a:pt x="212237" y="33849"/>
                    <a:pt x="216693" y="68458"/>
                  </a:cubicBezTo>
                  <a:cubicBezTo>
                    <a:pt x="219200" y="89111"/>
                    <a:pt x="218086" y="109765"/>
                    <a:pt x="218365" y="130418"/>
                  </a:cubicBezTo>
                  <a:cubicBezTo>
                    <a:pt x="218365" y="151630"/>
                    <a:pt x="218365" y="172563"/>
                    <a:pt x="218365" y="193774"/>
                  </a:cubicBezTo>
                  <a:cubicBezTo>
                    <a:pt x="218365" y="208009"/>
                    <a:pt x="221707" y="210800"/>
                    <a:pt x="235910" y="209125"/>
                  </a:cubicBezTo>
                  <a:cubicBezTo>
                    <a:pt x="242038" y="208288"/>
                    <a:pt x="248165" y="206613"/>
                    <a:pt x="254014" y="204380"/>
                  </a:cubicBezTo>
                  <a:cubicBezTo>
                    <a:pt x="260698" y="201868"/>
                    <a:pt x="264040" y="203543"/>
                    <a:pt x="266547" y="210241"/>
                  </a:cubicBezTo>
                  <a:cubicBezTo>
                    <a:pt x="273509" y="228104"/>
                    <a:pt x="273509" y="228662"/>
                    <a:pt x="255406" y="235640"/>
                  </a:cubicBezTo>
                  <a:cubicBezTo>
                    <a:pt x="241202" y="241222"/>
                    <a:pt x="226163" y="244013"/>
                    <a:pt x="210845" y="242896"/>
                  </a:cubicBezTo>
                  <a:cubicBezTo>
                    <a:pt x="190792" y="241501"/>
                    <a:pt x="180487" y="232570"/>
                    <a:pt x="176867" y="212753"/>
                  </a:cubicBezTo>
                  <a:cubicBezTo>
                    <a:pt x="175753" y="206892"/>
                    <a:pt x="175753" y="201031"/>
                    <a:pt x="175474" y="195170"/>
                  </a:cubicBezTo>
                  <a:cubicBezTo>
                    <a:pt x="175474" y="161399"/>
                    <a:pt x="175474" y="127906"/>
                    <a:pt x="175474" y="94135"/>
                  </a:cubicBezTo>
                  <a:cubicBezTo>
                    <a:pt x="175474" y="53944"/>
                    <a:pt x="156814" y="36082"/>
                    <a:pt x="116708" y="39152"/>
                  </a:cubicBezTo>
                  <a:cubicBezTo>
                    <a:pt x="91364" y="41106"/>
                    <a:pt x="69084" y="51153"/>
                    <a:pt x="49031" y="67062"/>
                  </a:cubicBezTo>
                  <a:cubicBezTo>
                    <a:pt x="43182" y="71528"/>
                    <a:pt x="42625" y="77389"/>
                    <a:pt x="42625" y="83808"/>
                  </a:cubicBezTo>
                  <a:cubicBezTo>
                    <a:pt x="42625" y="130697"/>
                    <a:pt x="42625" y="177866"/>
                    <a:pt x="42625" y="224755"/>
                  </a:cubicBezTo>
                  <a:cubicBezTo>
                    <a:pt x="42625" y="240663"/>
                    <a:pt x="42625" y="240943"/>
                    <a:pt x="26472" y="240663"/>
                  </a:cubicBezTo>
                  <a:cubicBezTo>
                    <a:pt x="-3329" y="240663"/>
                    <a:pt x="292" y="244571"/>
                    <a:pt x="13" y="213870"/>
                  </a:cubicBezTo>
                  <a:cubicBezTo>
                    <a:pt x="13" y="152746"/>
                    <a:pt x="13" y="91623"/>
                    <a:pt x="13" y="30779"/>
                  </a:cubicBezTo>
                  <a:cubicBezTo>
                    <a:pt x="13" y="22127"/>
                    <a:pt x="1127" y="15707"/>
                    <a:pt x="11154" y="13474"/>
                  </a:cubicBezTo>
                  <a:cubicBezTo>
                    <a:pt x="20623" y="11521"/>
                    <a:pt x="31206" y="3985"/>
                    <a:pt x="38447" y="6776"/>
                  </a:cubicBezTo>
                  <a:cubicBezTo>
                    <a:pt x="48195" y="10404"/>
                    <a:pt x="39283" y="24080"/>
                    <a:pt x="44575" y="33849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2" name="Freeform 3081">
              <a:extLst>
                <a:ext uri="{FF2B5EF4-FFF2-40B4-BE49-F238E27FC236}">
                  <a16:creationId xmlns:a16="http://schemas.microsoft.com/office/drawing/2014/main" id="{D62FAC8B-85C2-4EF0-3208-1497DC89A276}"/>
                </a:ext>
              </a:extLst>
            </p:cNvPr>
            <p:cNvSpPr/>
            <p:nvPr/>
          </p:nvSpPr>
          <p:spPr>
            <a:xfrm>
              <a:off x="14139266" y="-678899"/>
              <a:ext cx="260924" cy="243749"/>
            </a:xfrm>
            <a:custGeom>
              <a:avLst/>
              <a:gdLst>
                <a:gd name="connsiteX0" fmla="*/ 402 w 260924"/>
                <a:gd name="connsiteY0" fmla="*/ 128301 h 243749"/>
                <a:gd name="connsiteX1" fmla="*/ 402 w 260924"/>
                <a:gd name="connsiteY1" fmla="*/ 28382 h 243749"/>
                <a:gd name="connsiteX2" fmla="*/ 10428 w 260924"/>
                <a:gd name="connsiteY2" fmla="*/ 13869 h 243749"/>
                <a:gd name="connsiteX3" fmla="*/ 31316 w 260924"/>
                <a:gd name="connsiteY3" fmla="*/ 6891 h 243749"/>
                <a:gd name="connsiteX4" fmla="*/ 41343 w 260924"/>
                <a:gd name="connsiteY4" fmla="*/ 13590 h 243749"/>
                <a:gd name="connsiteX5" fmla="*/ 44127 w 260924"/>
                <a:gd name="connsiteY5" fmla="*/ 32848 h 243749"/>
                <a:gd name="connsiteX6" fmla="*/ 60003 w 260924"/>
                <a:gd name="connsiteY6" fmla="*/ 22521 h 243749"/>
                <a:gd name="connsiteX7" fmla="*/ 141884 w 260924"/>
                <a:gd name="connsiteY7" fmla="*/ 472 h 243749"/>
                <a:gd name="connsiteX8" fmla="*/ 212069 w 260924"/>
                <a:gd name="connsiteY8" fmla="*/ 80295 h 243749"/>
                <a:gd name="connsiteX9" fmla="*/ 212069 w 260924"/>
                <a:gd name="connsiteY9" fmla="*/ 192494 h 243749"/>
                <a:gd name="connsiteX10" fmla="*/ 232121 w 260924"/>
                <a:gd name="connsiteY10" fmla="*/ 208961 h 243749"/>
                <a:gd name="connsiteX11" fmla="*/ 238527 w 260924"/>
                <a:gd name="connsiteY11" fmla="*/ 207287 h 243749"/>
                <a:gd name="connsiteX12" fmla="*/ 259694 w 260924"/>
                <a:gd name="connsiteY12" fmla="*/ 218451 h 243749"/>
                <a:gd name="connsiteX13" fmla="*/ 254402 w 260924"/>
                <a:gd name="connsiteY13" fmla="*/ 232685 h 243749"/>
                <a:gd name="connsiteX14" fmla="*/ 215133 w 260924"/>
                <a:gd name="connsiteY14" fmla="*/ 243570 h 243749"/>
                <a:gd name="connsiteX15" fmla="*/ 169178 w 260924"/>
                <a:gd name="connsiteY15" fmla="*/ 200588 h 243749"/>
                <a:gd name="connsiteX16" fmla="*/ 169178 w 260924"/>
                <a:gd name="connsiteY16" fmla="*/ 96204 h 243749"/>
                <a:gd name="connsiteX17" fmla="*/ 166393 w 260924"/>
                <a:gd name="connsiteY17" fmla="*/ 68573 h 243749"/>
                <a:gd name="connsiteX18" fmla="*/ 139378 w 260924"/>
                <a:gd name="connsiteY18" fmla="*/ 41779 h 243749"/>
                <a:gd name="connsiteX19" fmla="*/ 44406 w 260924"/>
                <a:gd name="connsiteY19" fmla="*/ 70527 h 243749"/>
                <a:gd name="connsiteX20" fmla="*/ 40785 w 260924"/>
                <a:gd name="connsiteY20" fmla="*/ 83924 h 243749"/>
                <a:gd name="connsiteX21" fmla="*/ 40785 w 260924"/>
                <a:gd name="connsiteY21" fmla="*/ 224870 h 243749"/>
                <a:gd name="connsiteX22" fmla="*/ 24911 w 260924"/>
                <a:gd name="connsiteY22" fmla="*/ 241058 h 243749"/>
                <a:gd name="connsiteX23" fmla="*/ 123 w 260924"/>
                <a:gd name="connsiteY23" fmla="*/ 216218 h 243749"/>
                <a:gd name="connsiteX24" fmla="*/ 123 w 260924"/>
                <a:gd name="connsiteY24" fmla="*/ 128580 h 24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0924" h="243749">
                  <a:moveTo>
                    <a:pt x="402" y="128301"/>
                  </a:moveTo>
                  <a:cubicBezTo>
                    <a:pt x="402" y="95088"/>
                    <a:pt x="402" y="61595"/>
                    <a:pt x="402" y="28382"/>
                  </a:cubicBezTo>
                  <a:cubicBezTo>
                    <a:pt x="402" y="20567"/>
                    <a:pt x="2630" y="15823"/>
                    <a:pt x="10428" y="13869"/>
                  </a:cubicBezTo>
                  <a:cubicBezTo>
                    <a:pt x="17669" y="11915"/>
                    <a:pt x="24632" y="9403"/>
                    <a:pt x="31316" y="6891"/>
                  </a:cubicBezTo>
                  <a:cubicBezTo>
                    <a:pt x="38001" y="4379"/>
                    <a:pt x="40785" y="6333"/>
                    <a:pt x="41343" y="13590"/>
                  </a:cubicBezTo>
                  <a:cubicBezTo>
                    <a:pt x="41900" y="20288"/>
                    <a:pt x="37443" y="29778"/>
                    <a:pt x="44127" y="32848"/>
                  </a:cubicBezTo>
                  <a:cubicBezTo>
                    <a:pt x="48862" y="34802"/>
                    <a:pt x="54711" y="26149"/>
                    <a:pt x="60003" y="22521"/>
                  </a:cubicBezTo>
                  <a:cubicBezTo>
                    <a:pt x="84790" y="5496"/>
                    <a:pt x="111805" y="-2040"/>
                    <a:pt x="141884" y="472"/>
                  </a:cubicBezTo>
                  <a:cubicBezTo>
                    <a:pt x="183939" y="4101"/>
                    <a:pt x="211512" y="34523"/>
                    <a:pt x="212069" y="80295"/>
                  </a:cubicBezTo>
                  <a:cubicBezTo>
                    <a:pt x="212626" y="117695"/>
                    <a:pt x="212069" y="155095"/>
                    <a:pt x="212069" y="192494"/>
                  </a:cubicBezTo>
                  <a:cubicBezTo>
                    <a:pt x="212069" y="208961"/>
                    <a:pt x="215968" y="212032"/>
                    <a:pt x="232121" y="208961"/>
                  </a:cubicBezTo>
                  <a:cubicBezTo>
                    <a:pt x="234349" y="208403"/>
                    <a:pt x="236299" y="207845"/>
                    <a:pt x="238527" y="207287"/>
                  </a:cubicBezTo>
                  <a:cubicBezTo>
                    <a:pt x="254402" y="202542"/>
                    <a:pt x="254124" y="202821"/>
                    <a:pt x="259694" y="218451"/>
                  </a:cubicBezTo>
                  <a:cubicBezTo>
                    <a:pt x="262200" y="225429"/>
                    <a:pt x="261087" y="229336"/>
                    <a:pt x="254402" y="232685"/>
                  </a:cubicBezTo>
                  <a:cubicBezTo>
                    <a:pt x="241869" y="238825"/>
                    <a:pt x="229058" y="242733"/>
                    <a:pt x="215133" y="243570"/>
                  </a:cubicBezTo>
                  <a:cubicBezTo>
                    <a:pt x="184496" y="245524"/>
                    <a:pt x="169457" y="231569"/>
                    <a:pt x="169178" y="200588"/>
                  </a:cubicBezTo>
                  <a:cubicBezTo>
                    <a:pt x="168900" y="165700"/>
                    <a:pt x="169178" y="131092"/>
                    <a:pt x="169178" y="96204"/>
                  </a:cubicBezTo>
                  <a:cubicBezTo>
                    <a:pt x="169178" y="86994"/>
                    <a:pt x="169178" y="77783"/>
                    <a:pt x="166393" y="68573"/>
                  </a:cubicBezTo>
                  <a:cubicBezTo>
                    <a:pt x="162494" y="54618"/>
                    <a:pt x="153582" y="44849"/>
                    <a:pt x="139378" y="41779"/>
                  </a:cubicBezTo>
                  <a:cubicBezTo>
                    <a:pt x="102615" y="33685"/>
                    <a:pt x="71978" y="47361"/>
                    <a:pt x="44406" y="70527"/>
                  </a:cubicBezTo>
                  <a:cubicBezTo>
                    <a:pt x="40228" y="74155"/>
                    <a:pt x="40785" y="79179"/>
                    <a:pt x="40785" y="83924"/>
                  </a:cubicBezTo>
                  <a:cubicBezTo>
                    <a:pt x="40785" y="130813"/>
                    <a:pt x="40785" y="177981"/>
                    <a:pt x="40785" y="224870"/>
                  </a:cubicBezTo>
                  <a:cubicBezTo>
                    <a:pt x="40785" y="241058"/>
                    <a:pt x="40785" y="241337"/>
                    <a:pt x="24911" y="241058"/>
                  </a:cubicBezTo>
                  <a:cubicBezTo>
                    <a:pt x="-3219" y="241058"/>
                    <a:pt x="123" y="244128"/>
                    <a:pt x="123" y="216218"/>
                  </a:cubicBezTo>
                  <a:cubicBezTo>
                    <a:pt x="123" y="186912"/>
                    <a:pt x="123" y="157886"/>
                    <a:pt x="123" y="128580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3" name="Freeform 3082">
              <a:extLst>
                <a:ext uri="{FF2B5EF4-FFF2-40B4-BE49-F238E27FC236}">
                  <a16:creationId xmlns:a16="http://schemas.microsoft.com/office/drawing/2014/main" id="{7796C9CA-BD27-5A6A-D675-A635AB41CF25}"/>
                </a:ext>
              </a:extLst>
            </p:cNvPr>
            <p:cNvSpPr/>
            <p:nvPr/>
          </p:nvSpPr>
          <p:spPr>
            <a:xfrm>
              <a:off x="15035648" y="-744586"/>
              <a:ext cx="182232" cy="318993"/>
            </a:xfrm>
            <a:custGeom>
              <a:avLst/>
              <a:gdLst>
                <a:gd name="connsiteX0" fmla="*/ 83260 w 182232"/>
                <a:gd name="connsiteY0" fmla="*/ 185056 h 318993"/>
                <a:gd name="connsiteX1" fmla="*/ 84931 w 182232"/>
                <a:gd name="connsiteY1" fmla="*/ 250645 h 318993"/>
                <a:gd name="connsiteX2" fmla="*/ 118073 w 182232"/>
                <a:gd name="connsiteY2" fmla="*/ 279672 h 318993"/>
                <a:gd name="connsiteX3" fmla="*/ 160685 w 182232"/>
                <a:gd name="connsiteY3" fmla="*/ 270461 h 318993"/>
                <a:gd name="connsiteX4" fmla="*/ 171268 w 182232"/>
                <a:gd name="connsiteY4" fmla="*/ 273252 h 318993"/>
                <a:gd name="connsiteX5" fmla="*/ 159850 w 182232"/>
                <a:gd name="connsiteY5" fmla="*/ 310931 h 318993"/>
                <a:gd name="connsiteX6" fmla="*/ 84095 w 182232"/>
                <a:gd name="connsiteY6" fmla="*/ 312606 h 318993"/>
                <a:gd name="connsiteX7" fmla="*/ 45104 w 182232"/>
                <a:gd name="connsiteY7" fmla="*/ 270461 h 318993"/>
                <a:gd name="connsiteX8" fmla="*/ 40369 w 182232"/>
                <a:gd name="connsiteY8" fmla="*/ 231945 h 318993"/>
                <a:gd name="connsiteX9" fmla="*/ 40369 w 182232"/>
                <a:gd name="connsiteY9" fmla="*/ 121979 h 318993"/>
                <a:gd name="connsiteX10" fmla="*/ 27279 w 182232"/>
                <a:gd name="connsiteY10" fmla="*/ 108582 h 318993"/>
                <a:gd name="connsiteX11" fmla="*/ 26165 w 182232"/>
                <a:gd name="connsiteY11" fmla="*/ 108582 h 318993"/>
                <a:gd name="connsiteX12" fmla="*/ 4720 w 182232"/>
                <a:gd name="connsiteY12" fmla="*/ 80951 h 318993"/>
                <a:gd name="connsiteX13" fmla="*/ 18645 w 182232"/>
                <a:gd name="connsiteY13" fmla="*/ 70345 h 318993"/>
                <a:gd name="connsiteX14" fmla="*/ 40369 w 182232"/>
                <a:gd name="connsiteY14" fmla="*/ 48017 h 318993"/>
                <a:gd name="connsiteX15" fmla="*/ 40369 w 182232"/>
                <a:gd name="connsiteY15" fmla="*/ 44668 h 318993"/>
                <a:gd name="connsiteX16" fmla="*/ 72119 w 182232"/>
                <a:gd name="connsiteY16" fmla="*/ 1407 h 318993"/>
                <a:gd name="connsiteX17" fmla="*/ 83260 w 182232"/>
                <a:gd name="connsiteY17" fmla="*/ 9222 h 318993"/>
                <a:gd name="connsiteX18" fmla="*/ 83260 w 182232"/>
                <a:gd name="connsiteY18" fmla="*/ 59181 h 318993"/>
                <a:gd name="connsiteX19" fmla="*/ 94678 w 182232"/>
                <a:gd name="connsiteY19" fmla="*/ 70624 h 318993"/>
                <a:gd name="connsiteX20" fmla="*/ 157900 w 182232"/>
                <a:gd name="connsiteY20" fmla="*/ 70345 h 318993"/>
                <a:gd name="connsiteX21" fmla="*/ 169876 w 182232"/>
                <a:gd name="connsiteY21" fmla="*/ 82626 h 318993"/>
                <a:gd name="connsiteX22" fmla="*/ 143696 w 182232"/>
                <a:gd name="connsiteY22" fmla="*/ 108582 h 318993"/>
                <a:gd name="connsiteX23" fmla="*/ 100527 w 182232"/>
                <a:gd name="connsiteY23" fmla="*/ 108582 h 318993"/>
                <a:gd name="connsiteX24" fmla="*/ 83260 w 182232"/>
                <a:gd name="connsiteY24" fmla="*/ 125328 h 318993"/>
                <a:gd name="connsiteX25" fmla="*/ 83260 w 182232"/>
                <a:gd name="connsiteY25" fmla="*/ 185056 h 31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2232" h="318993">
                  <a:moveTo>
                    <a:pt x="83260" y="185056"/>
                  </a:moveTo>
                  <a:cubicBezTo>
                    <a:pt x="84373" y="204035"/>
                    <a:pt x="81031" y="227479"/>
                    <a:pt x="84931" y="250645"/>
                  </a:cubicBezTo>
                  <a:cubicBezTo>
                    <a:pt x="88273" y="270461"/>
                    <a:pt x="98299" y="278555"/>
                    <a:pt x="118073" y="279672"/>
                  </a:cubicBezTo>
                  <a:cubicBezTo>
                    <a:pt x="133113" y="280509"/>
                    <a:pt x="147595" y="278555"/>
                    <a:pt x="160685" y="270461"/>
                  </a:cubicBezTo>
                  <a:cubicBezTo>
                    <a:pt x="165698" y="267391"/>
                    <a:pt x="168483" y="268229"/>
                    <a:pt x="171268" y="273252"/>
                  </a:cubicBezTo>
                  <a:cubicBezTo>
                    <a:pt x="186308" y="301162"/>
                    <a:pt x="188815" y="298092"/>
                    <a:pt x="159850" y="310931"/>
                  </a:cubicBezTo>
                  <a:cubicBezTo>
                    <a:pt x="135341" y="321816"/>
                    <a:pt x="109440" y="320979"/>
                    <a:pt x="84095" y="312606"/>
                  </a:cubicBezTo>
                  <a:cubicBezTo>
                    <a:pt x="63764" y="305907"/>
                    <a:pt x="50674" y="291115"/>
                    <a:pt x="45104" y="270461"/>
                  </a:cubicBezTo>
                  <a:cubicBezTo>
                    <a:pt x="41762" y="257902"/>
                    <a:pt x="40369" y="245063"/>
                    <a:pt x="40369" y="231945"/>
                  </a:cubicBezTo>
                  <a:cubicBezTo>
                    <a:pt x="40369" y="195383"/>
                    <a:pt x="40369" y="158820"/>
                    <a:pt x="40369" y="121979"/>
                  </a:cubicBezTo>
                  <a:cubicBezTo>
                    <a:pt x="40369" y="111931"/>
                    <a:pt x="37584" y="107186"/>
                    <a:pt x="27279" y="108582"/>
                  </a:cubicBezTo>
                  <a:cubicBezTo>
                    <a:pt x="27001" y="108582"/>
                    <a:pt x="26443" y="108582"/>
                    <a:pt x="26165" y="108582"/>
                  </a:cubicBezTo>
                  <a:cubicBezTo>
                    <a:pt x="-5863" y="108582"/>
                    <a:pt x="-2243" y="111931"/>
                    <a:pt x="4720" y="80951"/>
                  </a:cubicBezTo>
                  <a:cubicBezTo>
                    <a:pt x="6391" y="73136"/>
                    <a:pt x="10569" y="70345"/>
                    <a:pt x="18645" y="70345"/>
                  </a:cubicBezTo>
                  <a:cubicBezTo>
                    <a:pt x="41762" y="70345"/>
                    <a:pt x="40091" y="74252"/>
                    <a:pt x="40369" y="48017"/>
                  </a:cubicBezTo>
                  <a:cubicBezTo>
                    <a:pt x="40369" y="46901"/>
                    <a:pt x="40369" y="45784"/>
                    <a:pt x="40369" y="44668"/>
                  </a:cubicBezTo>
                  <a:cubicBezTo>
                    <a:pt x="41204" y="5314"/>
                    <a:pt x="33963" y="15083"/>
                    <a:pt x="72119" y="1407"/>
                  </a:cubicBezTo>
                  <a:cubicBezTo>
                    <a:pt x="80474" y="-1663"/>
                    <a:pt x="83538" y="11"/>
                    <a:pt x="83260" y="9222"/>
                  </a:cubicBezTo>
                  <a:cubicBezTo>
                    <a:pt x="82702" y="25968"/>
                    <a:pt x="83260" y="42435"/>
                    <a:pt x="83260" y="59181"/>
                  </a:cubicBezTo>
                  <a:cubicBezTo>
                    <a:pt x="83260" y="67833"/>
                    <a:pt x="86044" y="70903"/>
                    <a:pt x="94678" y="70624"/>
                  </a:cubicBezTo>
                  <a:cubicBezTo>
                    <a:pt x="115845" y="70066"/>
                    <a:pt x="136733" y="70624"/>
                    <a:pt x="157900" y="70345"/>
                  </a:cubicBezTo>
                  <a:cubicBezTo>
                    <a:pt x="167091" y="70345"/>
                    <a:pt x="170154" y="73694"/>
                    <a:pt x="169876" y="82626"/>
                  </a:cubicBezTo>
                  <a:cubicBezTo>
                    <a:pt x="169041" y="111652"/>
                    <a:pt x="173496" y="108582"/>
                    <a:pt x="143696" y="108582"/>
                  </a:cubicBezTo>
                  <a:cubicBezTo>
                    <a:pt x="129214" y="108582"/>
                    <a:pt x="115010" y="108582"/>
                    <a:pt x="100527" y="108582"/>
                  </a:cubicBezTo>
                  <a:cubicBezTo>
                    <a:pt x="89025" y="108582"/>
                    <a:pt x="83260" y="114164"/>
                    <a:pt x="83260" y="125328"/>
                  </a:cubicBezTo>
                  <a:cubicBezTo>
                    <a:pt x="83260" y="143749"/>
                    <a:pt x="83260" y="162449"/>
                    <a:pt x="83260" y="185056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4" name="Freeform 3083">
              <a:extLst>
                <a:ext uri="{FF2B5EF4-FFF2-40B4-BE49-F238E27FC236}">
                  <a16:creationId xmlns:a16="http://schemas.microsoft.com/office/drawing/2014/main" id="{3AABAEA2-24DD-E93A-DA85-F6328B3307CE}"/>
                </a:ext>
              </a:extLst>
            </p:cNvPr>
            <p:cNvSpPr/>
            <p:nvPr/>
          </p:nvSpPr>
          <p:spPr>
            <a:xfrm>
              <a:off x="13505274" y="-743965"/>
              <a:ext cx="173148" cy="318351"/>
            </a:xfrm>
            <a:custGeom>
              <a:avLst/>
              <a:gdLst>
                <a:gd name="connsiteX0" fmla="*/ 39498 w 173148"/>
                <a:gd name="connsiteY0" fmla="*/ 182760 h 318351"/>
                <a:gd name="connsiteX1" fmla="*/ 39498 w 173148"/>
                <a:gd name="connsiteY1" fmla="*/ 119404 h 318351"/>
                <a:gd name="connsiteX2" fmla="*/ 27800 w 173148"/>
                <a:gd name="connsiteY2" fmla="*/ 107961 h 318351"/>
                <a:gd name="connsiteX3" fmla="*/ 26686 w 173148"/>
                <a:gd name="connsiteY3" fmla="*/ 107961 h 318351"/>
                <a:gd name="connsiteX4" fmla="*/ 6077 w 173148"/>
                <a:gd name="connsiteY4" fmla="*/ 75864 h 318351"/>
                <a:gd name="connsiteX5" fmla="*/ 18610 w 173148"/>
                <a:gd name="connsiteY5" fmla="*/ 69724 h 318351"/>
                <a:gd name="connsiteX6" fmla="*/ 39219 w 173148"/>
                <a:gd name="connsiteY6" fmla="*/ 48791 h 318351"/>
                <a:gd name="connsiteX7" fmla="*/ 39219 w 173148"/>
                <a:gd name="connsiteY7" fmla="*/ 20044 h 318351"/>
                <a:gd name="connsiteX8" fmla="*/ 46461 w 173148"/>
                <a:gd name="connsiteY8" fmla="*/ 9159 h 318351"/>
                <a:gd name="connsiteX9" fmla="*/ 69299 w 173148"/>
                <a:gd name="connsiteY9" fmla="*/ 1065 h 318351"/>
                <a:gd name="connsiteX10" fmla="*/ 79603 w 173148"/>
                <a:gd name="connsiteY10" fmla="*/ 8321 h 318351"/>
                <a:gd name="connsiteX11" fmla="*/ 79603 w 173148"/>
                <a:gd name="connsiteY11" fmla="*/ 57164 h 318351"/>
                <a:gd name="connsiteX12" fmla="*/ 92972 w 173148"/>
                <a:gd name="connsiteY12" fmla="*/ 70282 h 318351"/>
                <a:gd name="connsiteX13" fmla="*/ 151737 w 173148"/>
                <a:gd name="connsiteY13" fmla="*/ 70003 h 318351"/>
                <a:gd name="connsiteX14" fmla="*/ 164270 w 173148"/>
                <a:gd name="connsiteY14" fmla="*/ 81725 h 318351"/>
                <a:gd name="connsiteX15" fmla="*/ 138647 w 173148"/>
                <a:gd name="connsiteY15" fmla="*/ 108240 h 318351"/>
                <a:gd name="connsiteX16" fmla="*/ 94364 w 173148"/>
                <a:gd name="connsiteY16" fmla="*/ 108240 h 318351"/>
                <a:gd name="connsiteX17" fmla="*/ 79603 w 173148"/>
                <a:gd name="connsiteY17" fmla="*/ 122753 h 318351"/>
                <a:gd name="connsiteX18" fmla="*/ 79603 w 173148"/>
                <a:gd name="connsiteY18" fmla="*/ 236069 h 318351"/>
                <a:gd name="connsiteX19" fmla="*/ 135584 w 173148"/>
                <a:gd name="connsiteY19" fmla="*/ 277934 h 318351"/>
                <a:gd name="connsiteX20" fmla="*/ 150902 w 173148"/>
                <a:gd name="connsiteY20" fmla="*/ 271515 h 318351"/>
                <a:gd name="connsiteX21" fmla="*/ 156750 w 173148"/>
                <a:gd name="connsiteY21" fmla="*/ 268724 h 318351"/>
                <a:gd name="connsiteX22" fmla="*/ 170954 w 173148"/>
                <a:gd name="connsiteY22" fmla="*/ 289656 h 318351"/>
                <a:gd name="connsiteX23" fmla="*/ 170119 w 173148"/>
                <a:gd name="connsiteY23" fmla="*/ 301379 h 318351"/>
                <a:gd name="connsiteX24" fmla="*/ 58158 w 173148"/>
                <a:gd name="connsiteY24" fmla="*/ 297750 h 318351"/>
                <a:gd name="connsiteX25" fmla="*/ 39219 w 173148"/>
                <a:gd name="connsiteY25" fmla="*/ 244721 h 318351"/>
                <a:gd name="connsiteX26" fmla="*/ 39219 w 173148"/>
                <a:gd name="connsiteY26" fmla="*/ 183598 h 318351"/>
                <a:gd name="connsiteX27" fmla="*/ 39219 w 173148"/>
                <a:gd name="connsiteY27" fmla="*/ 183598 h 31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3148" h="318351">
                  <a:moveTo>
                    <a:pt x="39498" y="182760"/>
                  </a:moveTo>
                  <a:cubicBezTo>
                    <a:pt x="39498" y="161548"/>
                    <a:pt x="39498" y="140616"/>
                    <a:pt x="39498" y="119404"/>
                  </a:cubicBezTo>
                  <a:cubicBezTo>
                    <a:pt x="39498" y="110752"/>
                    <a:pt x="36434" y="106844"/>
                    <a:pt x="27800" y="107961"/>
                  </a:cubicBezTo>
                  <a:cubicBezTo>
                    <a:pt x="27522" y="107961"/>
                    <a:pt x="26965" y="107961"/>
                    <a:pt x="26686" y="107961"/>
                  </a:cubicBezTo>
                  <a:cubicBezTo>
                    <a:pt x="-3392" y="107403"/>
                    <a:pt x="-4507" y="105170"/>
                    <a:pt x="6077" y="75864"/>
                  </a:cubicBezTo>
                  <a:cubicBezTo>
                    <a:pt x="8583" y="69166"/>
                    <a:pt x="13597" y="69724"/>
                    <a:pt x="18610" y="69724"/>
                  </a:cubicBezTo>
                  <a:cubicBezTo>
                    <a:pt x="40612" y="69724"/>
                    <a:pt x="39219" y="72794"/>
                    <a:pt x="39219" y="48791"/>
                  </a:cubicBezTo>
                  <a:cubicBezTo>
                    <a:pt x="39219" y="39302"/>
                    <a:pt x="39219" y="29533"/>
                    <a:pt x="39219" y="20044"/>
                  </a:cubicBezTo>
                  <a:cubicBezTo>
                    <a:pt x="39219" y="14741"/>
                    <a:pt x="40890" y="10833"/>
                    <a:pt x="46461" y="9159"/>
                  </a:cubicBezTo>
                  <a:cubicBezTo>
                    <a:pt x="54259" y="6647"/>
                    <a:pt x="61779" y="3856"/>
                    <a:pt x="69299" y="1065"/>
                  </a:cubicBezTo>
                  <a:cubicBezTo>
                    <a:pt x="76540" y="-1726"/>
                    <a:pt x="79603" y="1065"/>
                    <a:pt x="79603" y="8321"/>
                  </a:cubicBezTo>
                  <a:cubicBezTo>
                    <a:pt x="79603" y="24509"/>
                    <a:pt x="80160" y="40976"/>
                    <a:pt x="79603" y="57164"/>
                  </a:cubicBezTo>
                  <a:cubicBezTo>
                    <a:pt x="79046" y="67491"/>
                    <a:pt x="82945" y="70561"/>
                    <a:pt x="92972" y="70282"/>
                  </a:cubicBezTo>
                  <a:cubicBezTo>
                    <a:pt x="112467" y="69724"/>
                    <a:pt x="132242" y="70282"/>
                    <a:pt x="151737" y="70003"/>
                  </a:cubicBezTo>
                  <a:cubicBezTo>
                    <a:pt x="160371" y="70003"/>
                    <a:pt x="164549" y="72236"/>
                    <a:pt x="164270" y="81725"/>
                  </a:cubicBezTo>
                  <a:cubicBezTo>
                    <a:pt x="163713" y="111310"/>
                    <a:pt x="167612" y="107961"/>
                    <a:pt x="138647" y="108240"/>
                  </a:cubicBezTo>
                  <a:cubicBezTo>
                    <a:pt x="123886" y="108240"/>
                    <a:pt x="109125" y="108798"/>
                    <a:pt x="94364" y="108240"/>
                  </a:cubicBezTo>
                  <a:cubicBezTo>
                    <a:pt x="83502" y="107682"/>
                    <a:pt x="79324" y="111310"/>
                    <a:pt x="79603" y="122753"/>
                  </a:cubicBezTo>
                  <a:cubicBezTo>
                    <a:pt x="80160" y="160432"/>
                    <a:pt x="80160" y="198111"/>
                    <a:pt x="79603" y="236069"/>
                  </a:cubicBezTo>
                  <a:cubicBezTo>
                    <a:pt x="79046" y="274864"/>
                    <a:pt x="99656" y="284632"/>
                    <a:pt x="135584" y="277934"/>
                  </a:cubicBezTo>
                  <a:cubicBezTo>
                    <a:pt x="140875" y="276818"/>
                    <a:pt x="145889" y="273747"/>
                    <a:pt x="150902" y="271515"/>
                  </a:cubicBezTo>
                  <a:cubicBezTo>
                    <a:pt x="152851" y="270677"/>
                    <a:pt x="155358" y="268165"/>
                    <a:pt x="156750" y="268724"/>
                  </a:cubicBezTo>
                  <a:cubicBezTo>
                    <a:pt x="166498" y="272073"/>
                    <a:pt x="166220" y="282679"/>
                    <a:pt x="170954" y="289656"/>
                  </a:cubicBezTo>
                  <a:cubicBezTo>
                    <a:pt x="173461" y="293285"/>
                    <a:pt x="174575" y="297192"/>
                    <a:pt x="170119" y="301379"/>
                  </a:cubicBezTo>
                  <a:cubicBezTo>
                    <a:pt x="143382" y="325381"/>
                    <a:pt x="82667" y="323707"/>
                    <a:pt x="58158" y="297750"/>
                  </a:cubicBezTo>
                  <a:cubicBezTo>
                    <a:pt x="44232" y="282958"/>
                    <a:pt x="39776" y="264258"/>
                    <a:pt x="39219" y="244721"/>
                  </a:cubicBezTo>
                  <a:cubicBezTo>
                    <a:pt x="38662" y="224346"/>
                    <a:pt x="39219" y="203972"/>
                    <a:pt x="39219" y="183598"/>
                  </a:cubicBezTo>
                  <a:lnTo>
                    <a:pt x="39219" y="183598"/>
                  </a:ln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5" name="Freeform 3084">
              <a:extLst>
                <a:ext uri="{FF2B5EF4-FFF2-40B4-BE49-F238E27FC236}">
                  <a16:creationId xmlns:a16="http://schemas.microsoft.com/office/drawing/2014/main" id="{41FA5F28-2823-F3D1-F2C8-1D888D28C3FA}"/>
                </a:ext>
              </a:extLst>
            </p:cNvPr>
            <p:cNvSpPr/>
            <p:nvPr/>
          </p:nvSpPr>
          <p:spPr>
            <a:xfrm>
              <a:off x="12659931" y="-669606"/>
              <a:ext cx="249018" cy="234742"/>
            </a:xfrm>
            <a:custGeom>
              <a:avLst/>
              <a:gdLst>
                <a:gd name="connsiteX0" fmla="*/ 126181 w 249018"/>
                <a:gd name="connsiteY0" fmla="*/ 185713 h 234742"/>
                <a:gd name="connsiteX1" fmla="*/ 152639 w 249018"/>
                <a:gd name="connsiteY1" fmla="*/ 124311 h 234742"/>
                <a:gd name="connsiteX2" fmla="*/ 201100 w 249018"/>
                <a:gd name="connsiteY2" fmla="*/ 10995 h 234742"/>
                <a:gd name="connsiteX3" fmla="*/ 216697 w 249018"/>
                <a:gd name="connsiteY3" fmla="*/ 110 h 234742"/>
                <a:gd name="connsiteX4" fmla="*/ 238977 w 249018"/>
                <a:gd name="connsiteY4" fmla="*/ 110 h 234742"/>
                <a:gd name="connsiteX5" fmla="*/ 246497 w 249018"/>
                <a:gd name="connsiteY5" fmla="*/ 11554 h 234742"/>
                <a:gd name="connsiteX6" fmla="*/ 215026 w 249018"/>
                <a:gd name="connsiteY6" fmla="*/ 81329 h 234742"/>
                <a:gd name="connsiteX7" fmla="*/ 152083 w 249018"/>
                <a:gd name="connsiteY7" fmla="*/ 220880 h 234742"/>
                <a:gd name="connsiteX8" fmla="*/ 132308 w 249018"/>
                <a:gd name="connsiteY8" fmla="*/ 234277 h 234742"/>
                <a:gd name="connsiteX9" fmla="*/ 91089 w 249018"/>
                <a:gd name="connsiteY9" fmla="*/ 208600 h 234742"/>
                <a:gd name="connsiteX10" fmla="*/ 3358 w 249018"/>
                <a:gd name="connsiteY10" fmla="*/ 13228 h 234742"/>
                <a:gd name="connsiteX11" fmla="*/ 12549 w 249018"/>
                <a:gd name="connsiteY11" fmla="*/ 110 h 234742"/>
                <a:gd name="connsiteX12" fmla="*/ 56554 w 249018"/>
                <a:gd name="connsiteY12" fmla="*/ 28300 h 234742"/>
                <a:gd name="connsiteX13" fmla="*/ 121725 w 249018"/>
                <a:gd name="connsiteY13" fmla="*/ 176782 h 234742"/>
                <a:gd name="connsiteX14" fmla="*/ 126181 w 249018"/>
                <a:gd name="connsiteY14" fmla="*/ 185713 h 23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018" h="234742">
                  <a:moveTo>
                    <a:pt x="126181" y="185713"/>
                  </a:moveTo>
                  <a:cubicBezTo>
                    <a:pt x="135650" y="163943"/>
                    <a:pt x="144006" y="144127"/>
                    <a:pt x="152639" y="124311"/>
                  </a:cubicBezTo>
                  <a:cubicBezTo>
                    <a:pt x="168793" y="86632"/>
                    <a:pt x="184947" y="48953"/>
                    <a:pt x="201100" y="10995"/>
                  </a:cubicBezTo>
                  <a:cubicBezTo>
                    <a:pt x="204164" y="3460"/>
                    <a:pt x="208341" y="-448"/>
                    <a:pt x="216697" y="110"/>
                  </a:cubicBezTo>
                  <a:cubicBezTo>
                    <a:pt x="223938" y="669"/>
                    <a:pt x="231458" y="110"/>
                    <a:pt x="238977" y="110"/>
                  </a:cubicBezTo>
                  <a:cubicBezTo>
                    <a:pt x="250118" y="110"/>
                    <a:pt x="250953" y="1506"/>
                    <a:pt x="246497" y="11554"/>
                  </a:cubicBezTo>
                  <a:cubicBezTo>
                    <a:pt x="236192" y="34719"/>
                    <a:pt x="225609" y="58164"/>
                    <a:pt x="215026" y="81329"/>
                  </a:cubicBezTo>
                  <a:cubicBezTo>
                    <a:pt x="193859" y="127939"/>
                    <a:pt x="172692" y="174270"/>
                    <a:pt x="152083" y="220880"/>
                  </a:cubicBezTo>
                  <a:cubicBezTo>
                    <a:pt x="147905" y="230370"/>
                    <a:pt x="142613" y="233160"/>
                    <a:pt x="132308" y="234277"/>
                  </a:cubicBezTo>
                  <a:cubicBezTo>
                    <a:pt x="110863" y="236789"/>
                    <a:pt x="100001" y="229253"/>
                    <a:pt x="91089" y="208600"/>
                  </a:cubicBezTo>
                  <a:cubicBezTo>
                    <a:pt x="63238" y="142731"/>
                    <a:pt x="32881" y="78259"/>
                    <a:pt x="3358" y="13228"/>
                  </a:cubicBezTo>
                  <a:cubicBezTo>
                    <a:pt x="-2212" y="669"/>
                    <a:pt x="-1933" y="-169"/>
                    <a:pt x="12549" y="110"/>
                  </a:cubicBezTo>
                  <a:cubicBezTo>
                    <a:pt x="50148" y="948"/>
                    <a:pt x="41236" y="-6309"/>
                    <a:pt x="56554" y="28300"/>
                  </a:cubicBezTo>
                  <a:cubicBezTo>
                    <a:pt x="78556" y="77701"/>
                    <a:pt x="100001" y="127102"/>
                    <a:pt x="121725" y="176782"/>
                  </a:cubicBezTo>
                  <a:cubicBezTo>
                    <a:pt x="122839" y="179015"/>
                    <a:pt x="123953" y="181248"/>
                    <a:pt x="126181" y="185713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6" name="Freeform 3085">
              <a:extLst>
                <a:ext uri="{FF2B5EF4-FFF2-40B4-BE49-F238E27FC236}">
                  <a16:creationId xmlns:a16="http://schemas.microsoft.com/office/drawing/2014/main" id="{D58A3C80-D8D7-DFBE-A09A-9EE7ED33154B}"/>
                </a:ext>
              </a:extLst>
            </p:cNvPr>
            <p:cNvSpPr/>
            <p:nvPr/>
          </p:nvSpPr>
          <p:spPr>
            <a:xfrm>
              <a:off x="12224759" y="-679133"/>
              <a:ext cx="155150" cy="243260"/>
            </a:xfrm>
            <a:custGeom>
              <a:avLst/>
              <a:gdLst>
                <a:gd name="connsiteX0" fmla="*/ 40818 w 155150"/>
                <a:gd name="connsiteY0" fmla="*/ 44246 h 243260"/>
                <a:gd name="connsiteX1" fmla="*/ 63656 w 155150"/>
                <a:gd name="connsiteY1" fmla="*/ 22476 h 243260"/>
                <a:gd name="connsiteX2" fmla="*/ 144145 w 155150"/>
                <a:gd name="connsiteY2" fmla="*/ 3218 h 243260"/>
                <a:gd name="connsiteX3" fmla="*/ 153893 w 155150"/>
                <a:gd name="connsiteY3" fmla="*/ 20801 h 243260"/>
                <a:gd name="connsiteX4" fmla="*/ 124650 w 155150"/>
                <a:gd name="connsiteY4" fmla="*/ 40338 h 243260"/>
                <a:gd name="connsiteX5" fmla="*/ 70062 w 155150"/>
                <a:gd name="connsiteY5" fmla="*/ 56805 h 243260"/>
                <a:gd name="connsiteX6" fmla="*/ 64213 w 155150"/>
                <a:gd name="connsiteY6" fmla="*/ 61829 h 243260"/>
                <a:gd name="connsiteX7" fmla="*/ 39983 w 155150"/>
                <a:gd name="connsiteY7" fmla="*/ 116533 h 243260"/>
                <a:gd name="connsiteX8" fmla="*/ 40818 w 155150"/>
                <a:gd name="connsiteY8" fmla="*/ 229849 h 243260"/>
                <a:gd name="connsiteX9" fmla="*/ 27450 w 155150"/>
                <a:gd name="connsiteY9" fmla="*/ 243246 h 243260"/>
                <a:gd name="connsiteX10" fmla="*/ 156 w 155150"/>
                <a:gd name="connsiteY10" fmla="*/ 216173 h 243260"/>
                <a:gd name="connsiteX11" fmla="*/ 156 w 155150"/>
                <a:gd name="connsiteY11" fmla="*/ 33082 h 243260"/>
                <a:gd name="connsiteX12" fmla="*/ 13803 w 155150"/>
                <a:gd name="connsiteY12" fmla="*/ 12986 h 243260"/>
                <a:gd name="connsiteX13" fmla="*/ 40818 w 155150"/>
                <a:gd name="connsiteY13" fmla="*/ 32245 h 243260"/>
                <a:gd name="connsiteX14" fmla="*/ 40818 w 155150"/>
                <a:gd name="connsiteY14" fmla="*/ 44246 h 24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5150" h="243260">
                  <a:moveTo>
                    <a:pt x="40818" y="44246"/>
                  </a:moveTo>
                  <a:cubicBezTo>
                    <a:pt x="49174" y="36152"/>
                    <a:pt x="56136" y="29174"/>
                    <a:pt x="63656" y="22476"/>
                  </a:cubicBezTo>
                  <a:cubicBezTo>
                    <a:pt x="87051" y="1822"/>
                    <a:pt x="113788" y="-4597"/>
                    <a:pt x="144145" y="3218"/>
                  </a:cubicBezTo>
                  <a:cubicBezTo>
                    <a:pt x="153893" y="5730"/>
                    <a:pt x="157235" y="10474"/>
                    <a:pt x="153893" y="20801"/>
                  </a:cubicBezTo>
                  <a:cubicBezTo>
                    <a:pt x="146930" y="43408"/>
                    <a:pt x="147488" y="43967"/>
                    <a:pt x="124650" y="40338"/>
                  </a:cubicBezTo>
                  <a:cubicBezTo>
                    <a:pt x="103483" y="36989"/>
                    <a:pt x="86215" y="44525"/>
                    <a:pt x="70062" y="56805"/>
                  </a:cubicBezTo>
                  <a:cubicBezTo>
                    <a:pt x="68112" y="58480"/>
                    <a:pt x="66163" y="60434"/>
                    <a:pt x="64213" y="61829"/>
                  </a:cubicBezTo>
                  <a:cubicBezTo>
                    <a:pt x="46946" y="76064"/>
                    <a:pt x="38590" y="92810"/>
                    <a:pt x="39983" y="116533"/>
                  </a:cubicBezTo>
                  <a:cubicBezTo>
                    <a:pt x="42211" y="154212"/>
                    <a:pt x="40261" y="191891"/>
                    <a:pt x="40818" y="229849"/>
                  </a:cubicBezTo>
                  <a:cubicBezTo>
                    <a:pt x="40818" y="239896"/>
                    <a:pt x="37755" y="243525"/>
                    <a:pt x="27450" y="243246"/>
                  </a:cubicBezTo>
                  <a:cubicBezTo>
                    <a:pt x="-3743" y="242408"/>
                    <a:pt x="156" y="246874"/>
                    <a:pt x="156" y="216173"/>
                  </a:cubicBezTo>
                  <a:cubicBezTo>
                    <a:pt x="156" y="155049"/>
                    <a:pt x="156" y="93926"/>
                    <a:pt x="156" y="33082"/>
                  </a:cubicBezTo>
                  <a:cubicBezTo>
                    <a:pt x="156" y="22197"/>
                    <a:pt x="2941" y="16615"/>
                    <a:pt x="13803" y="12986"/>
                  </a:cubicBezTo>
                  <a:cubicBezTo>
                    <a:pt x="40818" y="4055"/>
                    <a:pt x="40818" y="3497"/>
                    <a:pt x="40818" y="32245"/>
                  </a:cubicBezTo>
                  <a:cubicBezTo>
                    <a:pt x="40818" y="35873"/>
                    <a:pt x="40818" y="39501"/>
                    <a:pt x="40818" y="44246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7" name="Freeform 3086">
              <a:extLst>
                <a:ext uri="{FF2B5EF4-FFF2-40B4-BE49-F238E27FC236}">
                  <a16:creationId xmlns:a16="http://schemas.microsoft.com/office/drawing/2014/main" id="{C58EA377-AD29-8286-7495-06B268F7D819}"/>
                </a:ext>
              </a:extLst>
            </p:cNvPr>
            <p:cNvSpPr/>
            <p:nvPr/>
          </p:nvSpPr>
          <p:spPr>
            <a:xfrm>
              <a:off x="14949235" y="-673976"/>
              <a:ext cx="40899" cy="238762"/>
            </a:xfrm>
            <a:custGeom>
              <a:avLst/>
              <a:gdLst>
                <a:gd name="connsiteX0" fmla="*/ 60 w 40899"/>
                <a:gd name="connsiteY0" fmla="*/ 119191 h 238762"/>
                <a:gd name="connsiteX1" fmla="*/ 60 w 40899"/>
                <a:gd name="connsiteY1" fmla="*/ 12854 h 238762"/>
                <a:gd name="connsiteX2" fmla="*/ 12594 w 40899"/>
                <a:gd name="connsiteY2" fmla="*/ 15 h 238762"/>
                <a:gd name="connsiteX3" fmla="*/ 40723 w 40899"/>
                <a:gd name="connsiteY3" fmla="*/ 27367 h 238762"/>
                <a:gd name="connsiteX4" fmla="*/ 40723 w 40899"/>
                <a:gd name="connsiteY4" fmla="*/ 223576 h 238762"/>
                <a:gd name="connsiteX5" fmla="*/ 25962 w 40899"/>
                <a:gd name="connsiteY5" fmla="*/ 238647 h 238762"/>
                <a:gd name="connsiteX6" fmla="*/ 60 w 40899"/>
                <a:gd name="connsiteY6" fmla="*/ 212691 h 238762"/>
                <a:gd name="connsiteX7" fmla="*/ 60 w 40899"/>
                <a:gd name="connsiteY7" fmla="*/ 119471 h 23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9" h="238762">
                  <a:moveTo>
                    <a:pt x="60" y="119191"/>
                  </a:moveTo>
                  <a:cubicBezTo>
                    <a:pt x="60" y="83746"/>
                    <a:pt x="60" y="48299"/>
                    <a:pt x="60" y="12854"/>
                  </a:cubicBezTo>
                  <a:cubicBezTo>
                    <a:pt x="60" y="3364"/>
                    <a:pt x="2846" y="-264"/>
                    <a:pt x="12594" y="15"/>
                  </a:cubicBezTo>
                  <a:cubicBezTo>
                    <a:pt x="44900" y="852"/>
                    <a:pt x="40723" y="-3614"/>
                    <a:pt x="40723" y="27367"/>
                  </a:cubicBezTo>
                  <a:cubicBezTo>
                    <a:pt x="40723" y="92677"/>
                    <a:pt x="40723" y="158266"/>
                    <a:pt x="40723" y="223576"/>
                  </a:cubicBezTo>
                  <a:cubicBezTo>
                    <a:pt x="40723" y="238089"/>
                    <a:pt x="40445" y="238647"/>
                    <a:pt x="25962" y="238647"/>
                  </a:cubicBezTo>
                  <a:cubicBezTo>
                    <a:pt x="-3839" y="238647"/>
                    <a:pt x="339" y="241996"/>
                    <a:pt x="60" y="212691"/>
                  </a:cubicBezTo>
                  <a:cubicBezTo>
                    <a:pt x="60" y="181710"/>
                    <a:pt x="60" y="150730"/>
                    <a:pt x="60" y="119471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8" name="Freeform 3087">
              <a:extLst>
                <a:ext uri="{FF2B5EF4-FFF2-40B4-BE49-F238E27FC236}">
                  <a16:creationId xmlns:a16="http://schemas.microsoft.com/office/drawing/2014/main" id="{6F87683F-961D-0ADE-CF15-C98366C8AFDE}"/>
                </a:ext>
              </a:extLst>
            </p:cNvPr>
            <p:cNvSpPr/>
            <p:nvPr/>
          </p:nvSpPr>
          <p:spPr>
            <a:xfrm>
              <a:off x="13726818" y="-674254"/>
              <a:ext cx="41398" cy="238938"/>
            </a:xfrm>
            <a:custGeom>
              <a:avLst/>
              <a:gdLst>
                <a:gd name="connsiteX0" fmla="*/ 41039 w 41398"/>
                <a:gd name="connsiteY0" fmla="*/ 118631 h 238938"/>
                <a:gd name="connsiteX1" fmla="*/ 41039 w 41398"/>
                <a:gd name="connsiteY1" fmla="*/ 225248 h 238938"/>
                <a:gd name="connsiteX2" fmla="*/ 27949 w 41398"/>
                <a:gd name="connsiteY2" fmla="*/ 238924 h 238938"/>
                <a:gd name="connsiteX3" fmla="*/ 98 w 41398"/>
                <a:gd name="connsiteY3" fmla="*/ 211293 h 238938"/>
                <a:gd name="connsiteX4" fmla="*/ 98 w 41398"/>
                <a:gd name="connsiteY4" fmla="*/ 14805 h 238938"/>
                <a:gd name="connsiteX5" fmla="*/ 14581 w 41398"/>
                <a:gd name="connsiteY5" fmla="*/ 13 h 238938"/>
                <a:gd name="connsiteX6" fmla="*/ 41318 w 41398"/>
                <a:gd name="connsiteY6" fmla="*/ 26528 h 238938"/>
                <a:gd name="connsiteX7" fmla="*/ 41318 w 41398"/>
                <a:gd name="connsiteY7" fmla="*/ 118631 h 238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398" h="238938">
                  <a:moveTo>
                    <a:pt x="41039" y="118631"/>
                  </a:moveTo>
                  <a:cubicBezTo>
                    <a:pt x="41039" y="154077"/>
                    <a:pt x="41039" y="189803"/>
                    <a:pt x="41039" y="225248"/>
                  </a:cubicBezTo>
                  <a:cubicBezTo>
                    <a:pt x="41039" y="235296"/>
                    <a:pt x="38254" y="239204"/>
                    <a:pt x="27949" y="238924"/>
                  </a:cubicBezTo>
                  <a:cubicBezTo>
                    <a:pt x="-4358" y="238087"/>
                    <a:pt x="377" y="242553"/>
                    <a:pt x="98" y="211293"/>
                  </a:cubicBezTo>
                  <a:cubicBezTo>
                    <a:pt x="98" y="145704"/>
                    <a:pt x="98" y="80394"/>
                    <a:pt x="98" y="14805"/>
                  </a:cubicBezTo>
                  <a:cubicBezTo>
                    <a:pt x="98" y="3920"/>
                    <a:pt x="3162" y="-266"/>
                    <a:pt x="14581" y="13"/>
                  </a:cubicBezTo>
                  <a:cubicBezTo>
                    <a:pt x="45496" y="850"/>
                    <a:pt x="41039" y="-3336"/>
                    <a:pt x="41318" y="26528"/>
                  </a:cubicBezTo>
                  <a:cubicBezTo>
                    <a:pt x="41318" y="57229"/>
                    <a:pt x="41318" y="87930"/>
                    <a:pt x="41318" y="118631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9" name="Freeform 3088">
              <a:extLst>
                <a:ext uri="{FF2B5EF4-FFF2-40B4-BE49-F238E27FC236}">
                  <a16:creationId xmlns:a16="http://schemas.microsoft.com/office/drawing/2014/main" id="{A2A60395-4A79-E583-EB0F-54437D92C27D}"/>
                </a:ext>
              </a:extLst>
            </p:cNvPr>
            <p:cNvSpPr/>
            <p:nvPr/>
          </p:nvSpPr>
          <p:spPr>
            <a:xfrm>
              <a:off x="13716319" y="-775559"/>
              <a:ext cx="60173" cy="61964"/>
            </a:xfrm>
            <a:custGeom>
              <a:avLst/>
              <a:gdLst>
                <a:gd name="connsiteX0" fmla="*/ 60173 w 60173"/>
                <a:gd name="connsiteY0" fmla="*/ 31822 h 61964"/>
                <a:gd name="connsiteX1" fmla="*/ 31208 w 60173"/>
                <a:gd name="connsiteY1" fmla="*/ 61965 h 61964"/>
                <a:gd name="connsiteX2" fmla="*/ 15 w 60173"/>
                <a:gd name="connsiteY2" fmla="*/ 30984 h 61964"/>
                <a:gd name="connsiteX3" fmla="*/ 31208 w 60173"/>
                <a:gd name="connsiteY3" fmla="*/ 4 h 61964"/>
                <a:gd name="connsiteX4" fmla="*/ 60173 w 60173"/>
                <a:gd name="connsiteY4" fmla="*/ 31822 h 6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3" h="61964">
                  <a:moveTo>
                    <a:pt x="60173" y="31822"/>
                  </a:moveTo>
                  <a:cubicBezTo>
                    <a:pt x="60173" y="48568"/>
                    <a:pt x="47083" y="61965"/>
                    <a:pt x="31208" y="61965"/>
                  </a:cubicBezTo>
                  <a:cubicBezTo>
                    <a:pt x="14497" y="61965"/>
                    <a:pt x="-542" y="47451"/>
                    <a:pt x="15" y="30984"/>
                  </a:cubicBezTo>
                  <a:cubicBezTo>
                    <a:pt x="293" y="13959"/>
                    <a:pt x="14776" y="-275"/>
                    <a:pt x="31208" y="4"/>
                  </a:cubicBezTo>
                  <a:cubicBezTo>
                    <a:pt x="47083" y="4"/>
                    <a:pt x="60173" y="14797"/>
                    <a:pt x="60173" y="31822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0" name="Freeform 3089">
              <a:extLst>
                <a:ext uri="{FF2B5EF4-FFF2-40B4-BE49-F238E27FC236}">
                  <a16:creationId xmlns:a16="http://schemas.microsoft.com/office/drawing/2014/main" id="{47A78C3E-FE6D-062B-F2E4-0B92C6954B33}"/>
                </a:ext>
              </a:extLst>
            </p:cNvPr>
            <p:cNvSpPr/>
            <p:nvPr/>
          </p:nvSpPr>
          <p:spPr>
            <a:xfrm>
              <a:off x="14938150" y="-775280"/>
              <a:ext cx="60166" cy="61980"/>
            </a:xfrm>
            <a:custGeom>
              <a:avLst/>
              <a:gdLst>
                <a:gd name="connsiteX0" fmla="*/ 283 w 60166"/>
                <a:gd name="connsiteY0" fmla="*/ 30984 h 61980"/>
                <a:gd name="connsiteX1" fmla="*/ 29805 w 60166"/>
                <a:gd name="connsiteY1" fmla="*/ 4 h 61980"/>
                <a:gd name="connsiteX2" fmla="*/ 60163 w 60166"/>
                <a:gd name="connsiteY2" fmla="*/ 31822 h 61980"/>
                <a:gd name="connsiteX3" fmla="*/ 28134 w 60166"/>
                <a:gd name="connsiteY3" fmla="*/ 61965 h 61980"/>
                <a:gd name="connsiteX4" fmla="*/ 5 w 60166"/>
                <a:gd name="connsiteY4" fmla="*/ 30984 h 61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66" h="61980">
                  <a:moveTo>
                    <a:pt x="283" y="30984"/>
                  </a:moveTo>
                  <a:cubicBezTo>
                    <a:pt x="562" y="13959"/>
                    <a:pt x="14208" y="-275"/>
                    <a:pt x="29805" y="4"/>
                  </a:cubicBezTo>
                  <a:cubicBezTo>
                    <a:pt x="46237" y="283"/>
                    <a:pt x="60441" y="15355"/>
                    <a:pt x="60163" y="31822"/>
                  </a:cubicBezTo>
                  <a:cubicBezTo>
                    <a:pt x="60163" y="48289"/>
                    <a:pt x="44845" y="62523"/>
                    <a:pt x="28134" y="61965"/>
                  </a:cubicBezTo>
                  <a:cubicBezTo>
                    <a:pt x="12259" y="61407"/>
                    <a:pt x="-274" y="47731"/>
                    <a:pt x="5" y="30984"/>
                  </a:cubicBezTo>
                  <a:close/>
                </a:path>
              </a:pathLst>
            </a:custGeom>
            <a:grpFill/>
            <a:ln w="2784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D4575B1-6EDB-9D03-0578-A4D5CC7546E3}"/>
              </a:ext>
            </a:extLst>
          </p:cNvPr>
          <p:cNvSpPr txBox="1">
            <a:spLocks/>
          </p:cNvSpPr>
          <p:nvPr/>
        </p:nvSpPr>
        <p:spPr>
          <a:xfrm>
            <a:off x="180963" y="829783"/>
            <a:ext cx="5995588" cy="4215110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Georgia" panose="02040502050405020303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We would like to extend our thanks to all the 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participants, their partners and families, global community advisors, our investigators and site staff, and all of our </a:t>
            </a:r>
            <a:b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</a:b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partners for their support </a:t>
            </a:r>
            <a:b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</a:b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of the PURPOSE program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+mj-cs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6699DC5-E807-2220-C22E-A7C342128BD0}"/>
              </a:ext>
            </a:extLst>
          </p:cNvPr>
          <p:cNvSpPr/>
          <p:nvPr/>
        </p:nvSpPr>
        <p:spPr>
          <a:xfrm>
            <a:off x="0" y="3163395"/>
            <a:ext cx="1704975" cy="3704130"/>
          </a:xfrm>
          <a:prstGeom prst="rtTriangle">
            <a:avLst/>
          </a:prstGeom>
          <a:solidFill>
            <a:srgbClr val="00CC9B"/>
          </a:solidFill>
          <a:ln>
            <a:solidFill>
              <a:srgbClr val="007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05692810-9105-6956-4D10-47CA005AED0E}"/>
              </a:ext>
            </a:extLst>
          </p:cNvPr>
          <p:cNvSpPr/>
          <p:nvPr/>
        </p:nvSpPr>
        <p:spPr>
          <a:xfrm>
            <a:off x="0" y="1566866"/>
            <a:ext cx="1000125" cy="5300660"/>
          </a:xfrm>
          <a:prstGeom prst="rtTriangle">
            <a:avLst/>
          </a:prstGeom>
          <a:solidFill>
            <a:srgbClr val="7030A0"/>
          </a:solidFill>
          <a:ln>
            <a:solidFill>
              <a:srgbClr val="6E5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CB53D6-15C7-C600-F5DE-75EC6FB0065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504" t="8772" r="24168" b="34650"/>
          <a:stretch/>
        </p:blipFill>
        <p:spPr>
          <a:xfrm>
            <a:off x="6113677" y="-14368"/>
            <a:ext cx="6127858" cy="3424318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18187AB-A498-AEC6-5D6D-09EBEA3C60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77" y="5619750"/>
            <a:ext cx="1666875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38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T._w0atJJNmKsr3ExV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T._w0atJJNmKsr3ExV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o_Hk1BkP_o9uPMhIwR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ID" val="0348"/>
  <p:tag name="PARENTID" val="0348"/>
</p:tagLst>
</file>

<file path=ppt/theme/theme1.xml><?xml version="1.0" encoding="utf-8"?>
<a:theme xmlns:a="http://schemas.openxmlformats.org/drawingml/2006/main" name="4_Creating Possible_PURPOS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reating Possible_PURPOS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">
  <a:themeElements>
    <a:clrScheme name="Gilead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AEB618"/>
      </a:accent2>
      <a:accent3>
        <a:srgbClr val="F37B7D"/>
      </a:accent3>
      <a:accent4>
        <a:srgbClr val="9DB6C3"/>
      </a:accent4>
      <a:accent5>
        <a:srgbClr val="D7DB8C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ontent">
  <a:themeElements>
    <a:clrScheme name="Gilead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AEB618"/>
      </a:accent2>
      <a:accent3>
        <a:srgbClr val="F37B7D"/>
      </a:accent3>
      <a:accent4>
        <a:srgbClr val="9DB6C3"/>
      </a:accent4>
      <a:accent5>
        <a:srgbClr val="D7DB8C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35</Words>
  <Application>Microsoft Office PowerPoint</Application>
  <PresentationFormat>Widescreen</PresentationFormat>
  <Paragraphs>130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pple Symbols</vt:lpstr>
      <vt:lpstr>Arial</vt:lpstr>
      <vt:lpstr>Arial Black</vt:lpstr>
      <vt:lpstr>Calibri</vt:lpstr>
      <vt:lpstr>Georgia</vt:lpstr>
      <vt:lpstr>Proxima Nova Regular</vt:lpstr>
      <vt:lpstr>Roboto</vt:lpstr>
      <vt:lpstr>Symbol</vt:lpstr>
      <vt:lpstr>Trebuchet MS</vt:lpstr>
      <vt:lpstr>Wingdings</vt:lpstr>
      <vt:lpstr>4_Creating Possible_PURPOSE</vt:lpstr>
      <vt:lpstr>2_Creating Possible_PURPOSE</vt:lpstr>
      <vt:lpstr>Content</vt:lpstr>
      <vt:lpstr>2_Content</vt:lpstr>
      <vt:lpstr>think-cell Slide</vt:lpstr>
      <vt:lpstr>Building bridges: Pregnant and lactating people in the lenacapavir HIV PrEP PURPOSE program</vt:lpstr>
      <vt:lpstr>Lenacapavir: A first-in-class multistage HIV  capsid inhibitor</vt:lpstr>
      <vt:lpstr>Lenacapavir for PrEP: Prevention with PURPOSE</vt:lpstr>
      <vt:lpstr>PURPOSE   : First to include pregnant and lactating people in Phase 3 HIV PrEP trials</vt:lpstr>
      <vt:lpstr>                pharmacokinetic substudy </vt:lpstr>
      <vt:lpstr>              : Best practices for inclusion of PLP</vt:lpstr>
      <vt:lpstr>PowerPoint Presentation</vt:lpstr>
    </vt:vector>
  </TitlesOfParts>
  <Company>Gilead Scienc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bridges: Pregnant and lactating people in the lenacapavir HIV PrEP PURPOSE program</dc:title>
  <dc:creator>Kathryn Kersey</dc:creator>
  <cp:lastModifiedBy>Kathryn Kersey</cp:lastModifiedBy>
  <cp:revision>59</cp:revision>
  <cp:lastPrinted>2023-07-13T20:33:03Z</cp:lastPrinted>
  <dcterms:created xsi:type="dcterms:W3CDTF">2023-06-26T11:59:09Z</dcterms:created>
  <dcterms:modified xsi:type="dcterms:W3CDTF">2023-07-22T19:4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6de74a9-4f8a-4c74-b507-22417e17d25b_Enabled">
    <vt:lpwstr>true</vt:lpwstr>
  </property>
  <property fmtid="{D5CDD505-2E9C-101B-9397-08002B2CF9AE}" pid="3" name="MSIP_Label_16de74a9-4f8a-4c74-b507-22417e17d25b_SetDate">
    <vt:lpwstr>2023-07-18T00:57:16Z</vt:lpwstr>
  </property>
  <property fmtid="{D5CDD505-2E9C-101B-9397-08002B2CF9AE}" pid="4" name="MSIP_Label_16de74a9-4f8a-4c74-b507-22417e17d25b_Method">
    <vt:lpwstr>Privileged</vt:lpwstr>
  </property>
  <property fmtid="{D5CDD505-2E9C-101B-9397-08002B2CF9AE}" pid="5" name="MSIP_Label_16de74a9-4f8a-4c74-b507-22417e17d25b_Name">
    <vt:lpwstr>16de74a9-4f8a-4c74-b507-22417e17d25b</vt:lpwstr>
  </property>
  <property fmtid="{D5CDD505-2E9C-101B-9397-08002B2CF9AE}" pid="6" name="MSIP_Label_16de74a9-4f8a-4c74-b507-22417e17d25b_SiteId">
    <vt:lpwstr>a5a8bcaa-3292-41e6-b735-5e8b21f4dbfd</vt:lpwstr>
  </property>
  <property fmtid="{D5CDD505-2E9C-101B-9397-08002B2CF9AE}" pid="7" name="MSIP_Label_16de74a9-4f8a-4c74-b507-22417e17d25b_ActionId">
    <vt:lpwstr>5f77a3c4-5cc6-4d4c-9447-65f69c067184</vt:lpwstr>
  </property>
  <property fmtid="{D5CDD505-2E9C-101B-9397-08002B2CF9AE}" pid="8" name="MSIP_Label_16de74a9-4f8a-4c74-b507-22417e17d25b_ContentBits">
    <vt:lpwstr>0</vt:lpwstr>
  </property>
</Properties>
</file>